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notesSlides/notesSlide7.xml" ContentType="application/vnd.openxmlformats-officedocument.presentationml.notesSlide+xml"/>
  <Override PartName="/ppt/tags/tag37.xml" ContentType="application/vnd.openxmlformats-officedocument.presentationml.tags+xml"/>
  <Override PartName="/ppt/notesSlides/notesSlide8.xml" ContentType="application/vnd.openxmlformats-officedocument.presentationml.notesSlide+xml"/>
  <Override PartName="/ppt/tags/tag38.xml" ContentType="application/vnd.openxmlformats-officedocument.presentationml.tags+xml"/>
  <Override PartName="/ppt/notesSlides/notesSlide9.xml" ContentType="application/vnd.openxmlformats-officedocument.presentationml.notesSlide+xml"/>
  <Override PartName="/ppt/tags/tag39.xml" ContentType="application/vnd.openxmlformats-officedocument.presentationml.tags+xml"/>
  <Override PartName="/ppt/notesSlides/notesSlide10.xml" ContentType="application/vnd.openxmlformats-officedocument.presentationml.notesSlide+xml"/>
  <Override PartName="/ppt/tags/tag40.xml" ContentType="application/vnd.openxmlformats-officedocument.presentationml.tags+xml"/>
  <Override PartName="/ppt/notesSlides/notesSlide1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2.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3.xml" ContentType="application/vnd.openxmlformats-officedocument.presentationml.notesSlide+xml"/>
  <Override PartName="/ppt/tags/tag65.xml" ContentType="application/vnd.openxmlformats-officedocument.presentationml.tags+xml"/>
  <Override PartName="/ppt/notesSlides/notesSlide14.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5.xml" ContentType="application/vnd.openxmlformats-officedocument.presentationml.notesSlide+xml"/>
  <Override PartName="/ppt/tags/tag72.xml" ContentType="application/vnd.openxmlformats-officedocument.presentationml.tags+xml"/>
  <Override PartName="/ppt/notesSlides/notesSlide16.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7.xml" ContentType="application/vnd.openxmlformats-officedocument.presentationml.notesSlide+xml"/>
  <Override PartName="/ppt/tags/tag93.xml" ContentType="application/vnd.openxmlformats-officedocument.presentationml.tags+xml"/>
  <Override PartName="/ppt/notesSlides/notesSlide18.xml" ContentType="application/vnd.openxmlformats-officedocument.presentationml.notesSlide+xml"/>
  <Override PartName="/ppt/tags/tag94.xml" ContentType="application/vnd.openxmlformats-officedocument.presentationml.tags+xml"/>
  <Override PartName="/ppt/notesSlides/notesSlide19.xml" ContentType="application/vnd.openxmlformats-officedocument.presentationml.notesSlide+xml"/>
  <Override PartName="/ppt/tags/tag95.xml" ContentType="application/vnd.openxmlformats-officedocument.presentationml.tags+xml"/>
  <Override PartName="/ppt/notesSlides/notesSlide20.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21.xml" ContentType="application/vnd.openxmlformats-officedocument.presentationml.notesSlide+xml"/>
  <Override PartName="/ppt/tags/tag98.xml" ContentType="application/vnd.openxmlformats-officedocument.presentationml.tags+xml"/>
  <Override PartName="/ppt/notesSlides/notesSlide22.xml" ContentType="application/vnd.openxmlformats-officedocument.presentationml.notesSlide+xml"/>
  <Override PartName="/ppt/tags/tag99.xml" ContentType="application/vnd.openxmlformats-officedocument.presentationml.tags+xml"/>
  <Override PartName="/ppt/notesSlides/notesSlide23.xml" ContentType="application/vnd.openxmlformats-officedocument.presentationml.notesSlide+xml"/>
  <Override PartName="/ppt/tags/tag100.xml" ContentType="application/vnd.openxmlformats-officedocument.presentationml.tags+xml"/>
  <Override PartName="/ppt/notesSlides/notesSlide24.xml" ContentType="application/vnd.openxmlformats-officedocument.presentationml.notesSlide+xml"/>
  <Override PartName="/ppt/tags/tag101.xml" ContentType="application/vnd.openxmlformats-officedocument.presentationml.tags+xml"/>
  <Override PartName="/ppt/notesSlides/notesSlide25.xml" ContentType="application/vnd.openxmlformats-officedocument.presentationml.notesSlide+xml"/>
  <Override PartName="/ppt/tags/tag102.xml" ContentType="application/vnd.openxmlformats-officedocument.presentationml.tags+xml"/>
  <Override PartName="/ppt/notesSlides/notesSlide26.xml" ContentType="application/vnd.openxmlformats-officedocument.presentationml.notesSlide+xml"/>
  <Override PartName="/ppt/tags/tag103.xml" ContentType="application/vnd.openxmlformats-officedocument.presentationml.tags+xml"/>
  <Override PartName="/ppt/notesSlides/notesSlide27.xml" ContentType="application/vnd.openxmlformats-officedocument.presentationml.notesSlide+xml"/>
  <Override PartName="/ppt/tags/tag104.xml" ContentType="application/vnd.openxmlformats-officedocument.presentationml.tags+xml"/>
  <Override PartName="/ppt/notesSlides/notesSlide28.xml" ContentType="application/vnd.openxmlformats-officedocument.presentationml.notesSlide+xml"/>
  <Override PartName="/ppt/tags/tag105.xml" ContentType="application/vnd.openxmlformats-officedocument.presentationml.tags+xml"/>
  <Override PartName="/ppt/notesSlides/notesSlide29.xml" ContentType="application/vnd.openxmlformats-officedocument.presentationml.notesSlide+xml"/>
  <Override PartName="/ppt/tags/tag106.xml" ContentType="application/vnd.openxmlformats-officedocument.presentationml.tags+xml"/>
  <Override PartName="/ppt/notesSlides/notesSlide30.xml" ContentType="application/vnd.openxmlformats-officedocument.presentationml.notesSlide+xml"/>
  <Override PartName="/ppt/tags/tag107.xml" ContentType="application/vnd.openxmlformats-officedocument.presentationml.tags+xml"/>
  <Override PartName="/ppt/notesSlides/notesSlide31.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32.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33.xml" ContentType="application/vnd.openxmlformats-officedocument.presentationml.notesSlide+xml"/>
  <Override PartName="/ppt/tags/tag228.xml" ContentType="application/vnd.openxmlformats-officedocument.presentationml.tags+xml"/>
  <Override PartName="/ppt/notesSlides/notesSlide34.xml" ContentType="application/vnd.openxmlformats-officedocument.presentationml.notesSlide+xml"/>
  <Override PartName="/ppt/tags/tag229.xml" ContentType="application/vnd.openxmlformats-officedocument.presentationml.tags+xml"/>
  <Override PartName="/ppt/notesSlides/notesSlide35.xml" ContentType="application/vnd.openxmlformats-officedocument.presentationml.notesSlide+xml"/>
  <Override PartName="/ppt/tags/tag230.xml" ContentType="application/vnd.openxmlformats-officedocument.presentationml.tags+xml"/>
  <Override PartName="/ppt/notesSlides/notesSlide36.xml" ContentType="application/vnd.openxmlformats-officedocument.presentationml.notesSlide+xml"/>
  <Override PartName="/ppt/tags/tag231.xml" ContentType="application/vnd.openxmlformats-officedocument.presentationml.tags+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6"/>
  </p:sldMasterIdLst>
  <p:notesMasterIdLst>
    <p:notesMasterId r:id="rId58"/>
  </p:notesMasterIdLst>
  <p:handoutMasterIdLst>
    <p:handoutMasterId r:id="rId59"/>
  </p:handoutMasterIdLst>
  <p:sldIdLst>
    <p:sldId id="464" r:id="rId7"/>
    <p:sldId id="565" r:id="rId8"/>
    <p:sldId id="569" r:id="rId9"/>
    <p:sldId id="545" r:id="rId10"/>
    <p:sldId id="546" r:id="rId11"/>
    <p:sldId id="443" r:id="rId12"/>
    <p:sldId id="556" r:id="rId13"/>
    <p:sldId id="557" r:id="rId14"/>
    <p:sldId id="558" r:id="rId15"/>
    <p:sldId id="495" r:id="rId16"/>
    <p:sldId id="510" r:id="rId17"/>
    <p:sldId id="505" r:id="rId18"/>
    <p:sldId id="559" r:id="rId19"/>
    <p:sldId id="441" r:id="rId20"/>
    <p:sldId id="493" r:id="rId21"/>
    <p:sldId id="521" r:id="rId22"/>
    <p:sldId id="527" r:id="rId23"/>
    <p:sldId id="547" r:id="rId24"/>
    <p:sldId id="409" r:id="rId25"/>
    <p:sldId id="537" r:id="rId26"/>
    <p:sldId id="422" r:id="rId27"/>
    <p:sldId id="456" r:id="rId28"/>
    <p:sldId id="548" r:id="rId29"/>
    <p:sldId id="539" r:id="rId30"/>
    <p:sldId id="540" r:id="rId31"/>
    <p:sldId id="541" r:id="rId32"/>
    <p:sldId id="542" r:id="rId33"/>
    <p:sldId id="544" r:id="rId34"/>
    <p:sldId id="448" r:id="rId35"/>
    <p:sldId id="507" r:id="rId36"/>
    <p:sldId id="525" r:id="rId37"/>
    <p:sldId id="496" r:id="rId38"/>
    <p:sldId id="468" r:id="rId39"/>
    <p:sldId id="466" r:id="rId40"/>
    <p:sldId id="469" r:id="rId41"/>
    <p:sldId id="475" r:id="rId42"/>
    <p:sldId id="476" r:id="rId43"/>
    <p:sldId id="474" r:id="rId44"/>
    <p:sldId id="560" r:id="rId45"/>
    <p:sldId id="561" r:id="rId46"/>
    <p:sldId id="477" r:id="rId47"/>
    <p:sldId id="563" r:id="rId48"/>
    <p:sldId id="472" r:id="rId49"/>
    <p:sldId id="473" r:id="rId50"/>
    <p:sldId id="564" r:id="rId51"/>
    <p:sldId id="437" r:id="rId52"/>
    <p:sldId id="428" r:id="rId53"/>
    <p:sldId id="479" r:id="rId54"/>
    <p:sldId id="533" r:id="rId55"/>
    <p:sldId id="543" r:id="rId56"/>
    <p:sldId id="508" r:id="rId57"/>
  </p:sldIdLst>
  <p:sldSz cx="12192000" cy="6858000"/>
  <p:notesSz cx="6858000" cy="9144000"/>
  <p:custDataLst>
    <p:tags r:id="rId6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 id="{F8C6A97B-DBED-1785-5079-71F71B3EDDE5}" name="Juliane von Geisau ext" initials="Jv" userId="S::Juliane.von.Geisau.ext@msg.group::731373ef-e2e1-41c7-b14a-6762557476b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C17BEF-689D-F149-9F04-831682596D7C}" v="6" dt="2026-06-23T09:16:46.893"/>
    <p1510:client id="{C45F93B8-AE64-8848-B6D1-BF6DEA6D1D17}" v="1" dt="2026-06-23T09:08:07.651"/>
  </p1510:revLst>
</p1510:revInfo>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146"/>
    <p:restoredTop sz="94670"/>
  </p:normalViewPr>
  <p:slideViewPr>
    <p:cSldViewPr snapToGrid="0" showGuides="1">
      <p:cViewPr varScale="1">
        <p:scale>
          <a:sx n="117" d="100"/>
          <a:sy n="117" d="100"/>
        </p:scale>
        <p:origin x="880" y="176"/>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notesMaster" Target="notesMasters/notesMaster1.xml"/><Relationship Id="rId66" Type="http://schemas.microsoft.com/office/2015/10/relationships/revisionInfo" Target="revisionInfo.xml"/><Relationship Id="rId5" Type="http://schemas.openxmlformats.org/officeDocument/2006/relationships/customXml" Target="../customXml/item5.xml"/><Relationship Id="rId61" Type="http://schemas.openxmlformats.org/officeDocument/2006/relationships/presProps" Target="pres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handoutMaster" Target="handoutMasters/handoutMaster1.xml"/><Relationship Id="rId67" Type="http://schemas.microsoft.com/office/2018/10/relationships/authors" Target="author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ags" Target="tags/tag1.xml"/><Relationship Id="rId65"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ra Capuani" userId="b1870b65-3320-47ed-8c53-98652c4c774d" providerId="ADAL" clId="{42322D5F-D309-54CD-B0A1-EF486338B49C}"/>
    <pc:docChg chg="undo custSel addSld delSld modSld">
      <pc:chgData name="Sandra Capuani" userId="b1870b65-3320-47ed-8c53-98652c4c774d" providerId="ADAL" clId="{42322D5F-D309-54CD-B0A1-EF486338B49C}" dt="2026-06-23T09:16:46.892" v="17"/>
      <pc:docMkLst>
        <pc:docMk/>
      </pc:docMkLst>
      <pc:sldChg chg="add del">
        <pc:chgData name="Sandra Capuani" userId="b1870b65-3320-47ed-8c53-98652c4c774d" providerId="ADAL" clId="{42322D5F-D309-54CD-B0A1-EF486338B49C}" dt="2026-06-23T09:16:22.391" v="15"/>
        <pc:sldMkLst>
          <pc:docMk/>
          <pc:sldMk cId="2105331398" sldId="464"/>
        </pc:sldMkLst>
      </pc:sldChg>
      <pc:sldChg chg="add del">
        <pc:chgData name="Sandra Capuani" userId="b1870b65-3320-47ed-8c53-98652c4c774d" providerId="ADAL" clId="{42322D5F-D309-54CD-B0A1-EF486338B49C}" dt="2026-06-23T09:16:46.892" v="17"/>
        <pc:sldMkLst>
          <pc:docMk/>
          <pc:sldMk cId="2253121382" sldId="508"/>
        </pc:sldMkLst>
      </pc:sldChg>
      <pc:sldChg chg="addSp delSp modSp mod">
        <pc:chgData name="Sandra Capuani" userId="b1870b65-3320-47ed-8c53-98652c4c774d" providerId="ADAL" clId="{42322D5F-D309-54CD-B0A1-EF486338B49C}" dt="2026-06-23T09:08:07.651" v="1"/>
        <pc:sldMkLst>
          <pc:docMk/>
          <pc:sldMk cId="2993609625" sldId="521"/>
        </pc:sldMkLst>
        <pc:picChg chg="del">
          <ac:chgData name="Sandra Capuani" userId="b1870b65-3320-47ed-8c53-98652c4c774d" providerId="ADAL" clId="{42322D5F-D309-54CD-B0A1-EF486338B49C}" dt="2026-06-23T09:08:06.837" v="0" actId="478"/>
          <ac:picMkLst>
            <pc:docMk/>
            <pc:sldMk cId="2993609625" sldId="521"/>
            <ac:picMk id="2" creationId="{8D2B16CC-C493-6B12-50DF-D9EA173185E1}"/>
          </ac:picMkLst>
        </pc:picChg>
        <pc:picChg chg="add mod">
          <ac:chgData name="Sandra Capuani" userId="b1870b65-3320-47ed-8c53-98652c4c774d" providerId="ADAL" clId="{42322D5F-D309-54CD-B0A1-EF486338B49C}" dt="2026-06-23T09:08:07.651" v="1"/>
          <ac:picMkLst>
            <pc:docMk/>
            <pc:sldMk cId="2993609625" sldId="521"/>
            <ac:picMk id="4" creationId="{2C44E456-6821-3A29-218A-0FA34BA271EA}"/>
          </ac:picMkLst>
        </pc:picChg>
      </pc:sldChg>
      <pc:sldChg chg="add del">
        <pc:chgData name="Sandra Capuani" userId="b1870b65-3320-47ed-8c53-98652c4c774d" providerId="ADAL" clId="{42322D5F-D309-54CD-B0A1-EF486338B49C}" dt="2026-06-23T09:16:38.185" v="16"/>
        <pc:sldMkLst>
          <pc:docMk/>
          <pc:sldMk cId="1120423995" sldId="56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37845B6-5494-F3EF-4D66-0AC1AF0CFA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9CC1B4F6-C76F-7449-1876-8CD94AE23BE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A09EE3-F977-4122-8AA3-DCDF98E78F4D}" type="datetimeFigureOut">
              <a:rPr lang="de-DE" smtClean="0"/>
              <a:t>23.06.26</a:t>
            </a:fld>
            <a:endParaRPr lang="de-DE"/>
          </a:p>
        </p:txBody>
      </p:sp>
      <p:sp>
        <p:nvSpPr>
          <p:cNvPr id="4" name="Fußzeilenplatzhalter 3">
            <a:extLst>
              <a:ext uri="{FF2B5EF4-FFF2-40B4-BE49-F238E27FC236}">
                <a16:creationId xmlns:a16="http://schemas.microsoft.com/office/drawing/2014/main" id="{F827864E-AAAE-718C-DCAA-5C7761AFC4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96AC58EF-566D-8985-8CE4-F10BD6DAA96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0D4E36-68C3-4365-A3C8-F4C864383CED}" type="slidenum">
              <a:rPr lang="de-DE" smtClean="0"/>
              <a:t>‹Nr.›</a:t>
            </a:fld>
            <a:endParaRPr lang="de-DE"/>
          </a:p>
        </p:txBody>
      </p:sp>
    </p:spTree>
    <p:extLst>
      <p:ext uri="{BB962C8B-B14F-4D97-AF65-F5344CB8AC3E}">
        <p14:creationId xmlns:p14="http://schemas.microsoft.com/office/powerpoint/2010/main" val="9883822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B9F31C6B-0FCE-46A8-812E-506E3A739D57}" type="datetimeFigureOut">
              <a:rPr lang="de-DE" smtClean="0"/>
              <a:pPr/>
              <a:t>23.06.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6AC91A1E-1F3C-4C24-BF60-687AD334015B}" type="slidenum">
              <a:rPr lang="de-DE" smtClean="0"/>
              <a:pPr/>
              <a:t>‹Nr.›</a:t>
            </a:fld>
            <a:endParaRPr lang="de-DE"/>
          </a:p>
        </p:txBody>
      </p:sp>
    </p:spTree>
    <p:extLst>
      <p:ext uri="{BB962C8B-B14F-4D97-AF65-F5344CB8AC3E}">
        <p14:creationId xmlns:p14="http://schemas.microsoft.com/office/powerpoint/2010/main" val="804721086"/>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300"/>
      </a:spcAft>
      <a:buFont typeface="Wingdings" panose="05000000000000000000" pitchFamily="2" charset="2"/>
      <a:buNone/>
      <a:defRPr sz="1200" kern="1200">
        <a:solidFill>
          <a:schemeClr val="tx1"/>
        </a:solidFill>
        <a:latin typeface="+mn-lt"/>
        <a:ea typeface="+mn-ea"/>
        <a:cs typeface="+mn-cs"/>
      </a:defRPr>
    </a:lvl1pPr>
    <a:lvl2pPr marL="18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4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72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90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108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26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44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a:t>
            </a:fld>
            <a:endParaRPr lang="de-DE"/>
          </a:p>
        </p:txBody>
      </p:sp>
    </p:spTree>
    <p:extLst>
      <p:ext uri="{BB962C8B-B14F-4D97-AF65-F5344CB8AC3E}">
        <p14:creationId xmlns:p14="http://schemas.microsoft.com/office/powerpoint/2010/main" val="20904256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0</a:t>
            </a:fld>
            <a:endParaRPr lang="de-DE"/>
          </a:p>
        </p:txBody>
      </p:sp>
    </p:spTree>
    <p:extLst>
      <p:ext uri="{BB962C8B-B14F-4D97-AF65-F5344CB8AC3E}">
        <p14:creationId xmlns:p14="http://schemas.microsoft.com/office/powerpoint/2010/main" val="5090996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1</a:t>
            </a:fld>
            <a:endParaRPr lang="de-DE"/>
          </a:p>
        </p:txBody>
      </p:sp>
    </p:spTree>
    <p:extLst>
      <p:ext uri="{BB962C8B-B14F-4D97-AF65-F5344CB8AC3E}">
        <p14:creationId xmlns:p14="http://schemas.microsoft.com/office/powerpoint/2010/main" val="756364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2</a:t>
            </a:fld>
            <a:endParaRPr lang="de-DE"/>
          </a:p>
        </p:txBody>
      </p:sp>
    </p:spTree>
    <p:extLst>
      <p:ext uri="{BB962C8B-B14F-4D97-AF65-F5344CB8AC3E}">
        <p14:creationId xmlns:p14="http://schemas.microsoft.com/office/powerpoint/2010/main" val="1067069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010B2-B8A3-F391-ED92-80D398C853B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CADD00F-A4E6-58FB-EE64-A808A4EB9AD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C9CDC69-A0D2-7D88-E696-D2474E076862}"/>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81E5CF38-B89D-F5D9-21E3-14A7CC8BAA8A}"/>
              </a:ext>
            </a:extLst>
          </p:cNvPr>
          <p:cNvSpPr>
            <a:spLocks noGrp="1"/>
          </p:cNvSpPr>
          <p:nvPr>
            <p:ph type="sldNum" sz="quarter" idx="5"/>
          </p:nvPr>
        </p:nvSpPr>
        <p:spPr/>
        <p:txBody>
          <a:bodyPr/>
          <a:lstStyle/>
          <a:p>
            <a:fld id="{8EA03A34-464E-4330-B842-BE15B1004585}" type="slidenum">
              <a:rPr lang="de-DE" smtClean="0"/>
              <a:pPr/>
              <a:t>13</a:t>
            </a:fld>
            <a:endParaRPr lang="de-DE"/>
          </a:p>
        </p:txBody>
      </p:sp>
    </p:spTree>
    <p:extLst>
      <p:ext uri="{BB962C8B-B14F-4D97-AF65-F5344CB8AC3E}">
        <p14:creationId xmlns:p14="http://schemas.microsoft.com/office/powerpoint/2010/main" val="872247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4</a:t>
            </a:fld>
            <a:endParaRPr lang="de-DE"/>
          </a:p>
        </p:txBody>
      </p:sp>
    </p:spTree>
    <p:extLst>
      <p:ext uri="{BB962C8B-B14F-4D97-AF65-F5344CB8AC3E}">
        <p14:creationId xmlns:p14="http://schemas.microsoft.com/office/powerpoint/2010/main" val="23135959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5</a:t>
            </a:fld>
            <a:endParaRPr lang="de-DE"/>
          </a:p>
        </p:txBody>
      </p:sp>
    </p:spTree>
    <p:extLst>
      <p:ext uri="{BB962C8B-B14F-4D97-AF65-F5344CB8AC3E}">
        <p14:creationId xmlns:p14="http://schemas.microsoft.com/office/powerpoint/2010/main" val="3662533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6</a:t>
            </a:fld>
            <a:endParaRPr lang="de-DE"/>
          </a:p>
        </p:txBody>
      </p:sp>
    </p:spTree>
    <p:extLst>
      <p:ext uri="{BB962C8B-B14F-4D97-AF65-F5344CB8AC3E}">
        <p14:creationId xmlns:p14="http://schemas.microsoft.com/office/powerpoint/2010/main" val="35884356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EA03A34-464E-4330-B842-BE15B1004585}" type="slidenum">
              <a:rPr lang="de-DE" smtClean="0"/>
              <a:pPr/>
              <a:t>17</a:t>
            </a:fld>
            <a:endParaRPr lang="de-DE"/>
          </a:p>
        </p:txBody>
      </p:sp>
    </p:spTree>
    <p:extLst>
      <p:ext uri="{BB962C8B-B14F-4D97-AF65-F5344CB8AC3E}">
        <p14:creationId xmlns:p14="http://schemas.microsoft.com/office/powerpoint/2010/main" val="17703684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8</a:t>
            </a:fld>
            <a:endParaRPr lang="de-DE"/>
          </a:p>
        </p:txBody>
      </p:sp>
    </p:spTree>
    <p:extLst>
      <p:ext uri="{BB962C8B-B14F-4D97-AF65-F5344CB8AC3E}">
        <p14:creationId xmlns:p14="http://schemas.microsoft.com/office/powerpoint/2010/main" val="30994541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9</a:t>
            </a:fld>
            <a:endParaRPr lang="de-DE"/>
          </a:p>
        </p:txBody>
      </p:sp>
    </p:spTree>
    <p:extLst>
      <p:ext uri="{BB962C8B-B14F-4D97-AF65-F5344CB8AC3E}">
        <p14:creationId xmlns:p14="http://schemas.microsoft.com/office/powerpoint/2010/main" val="30682461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AC91A1E-1F3C-4C24-BF60-687AD334015B}" type="slidenum">
              <a:rPr lang="de-DE" smtClean="0"/>
              <a:pPr/>
              <a:t>2</a:t>
            </a:fld>
            <a:endParaRPr lang="de-DE"/>
          </a:p>
        </p:txBody>
      </p:sp>
    </p:spTree>
    <p:extLst>
      <p:ext uri="{BB962C8B-B14F-4D97-AF65-F5344CB8AC3E}">
        <p14:creationId xmlns:p14="http://schemas.microsoft.com/office/powerpoint/2010/main" val="10119039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20</a:t>
            </a:fld>
            <a:endParaRPr lang="de-DE"/>
          </a:p>
        </p:txBody>
      </p:sp>
    </p:spTree>
    <p:extLst>
      <p:ext uri="{BB962C8B-B14F-4D97-AF65-F5344CB8AC3E}">
        <p14:creationId xmlns:p14="http://schemas.microsoft.com/office/powerpoint/2010/main" val="25545065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2</a:t>
            </a:fld>
            <a:endParaRPr lang="de-DE"/>
          </a:p>
        </p:txBody>
      </p:sp>
    </p:spTree>
    <p:extLst>
      <p:ext uri="{BB962C8B-B14F-4D97-AF65-F5344CB8AC3E}">
        <p14:creationId xmlns:p14="http://schemas.microsoft.com/office/powerpoint/2010/main" val="42929116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3</a:t>
            </a:fld>
            <a:endParaRPr lang="de-DE"/>
          </a:p>
        </p:txBody>
      </p:sp>
    </p:spTree>
    <p:extLst>
      <p:ext uri="{BB962C8B-B14F-4D97-AF65-F5344CB8AC3E}">
        <p14:creationId xmlns:p14="http://schemas.microsoft.com/office/powerpoint/2010/main" val="26959616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4</a:t>
            </a:fld>
            <a:endParaRPr lang="de-DE"/>
          </a:p>
        </p:txBody>
      </p:sp>
    </p:spTree>
    <p:extLst>
      <p:ext uri="{BB962C8B-B14F-4D97-AF65-F5344CB8AC3E}">
        <p14:creationId xmlns:p14="http://schemas.microsoft.com/office/powerpoint/2010/main" val="30484836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5</a:t>
            </a:fld>
            <a:endParaRPr lang="de-DE"/>
          </a:p>
        </p:txBody>
      </p:sp>
    </p:spTree>
    <p:extLst>
      <p:ext uri="{BB962C8B-B14F-4D97-AF65-F5344CB8AC3E}">
        <p14:creationId xmlns:p14="http://schemas.microsoft.com/office/powerpoint/2010/main" val="1074270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6</a:t>
            </a:fld>
            <a:endParaRPr lang="de-DE"/>
          </a:p>
        </p:txBody>
      </p:sp>
    </p:spTree>
    <p:extLst>
      <p:ext uri="{BB962C8B-B14F-4D97-AF65-F5344CB8AC3E}">
        <p14:creationId xmlns:p14="http://schemas.microsoft.com/office/powerpoint/2010/main" val="25126076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73902-38B9-A7AF-4AE4-B96D7A27DAE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E22B16D-9B80-F851-48FD-563CF57A982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72EDDDD-DFA9-B837-1467-D3D5F0EED56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50F3875A-A82C-4B07-16E0-9FAF131C4EEE}"/>
              </a:ext>
            </a:extLst>
          </p:cNvPr>
          <p:cNvSpPr>
            <a:spLocks noGrp="1"/>
          </p:cNvSpPr>
          <p:nvPr>
            <p:ph type="sldNum" sz="quarter" idx="5"/>
          </p:nvPr>
        </p:nvSpPr>
        <p:spPr/>
        <p:txBody>
          <a:bodyPr/>
          <a:lstStyle/>
          <a:p>
            <a:fld id="{8EA03A34-464E-4330-B842-BE15B1004585}" type="slidenum">
              <a:rPr lang="de-DE" smtClean="0"/>
              <a:pPr/>
              <a:t>27</a:t>
            </a:fld>
            <a:endParaRPr lang="de-DE"/>
          </a:p>
        </p:txBody>
      </p:sp>
    </p:spTree>
    <p:extLst>
      <p:ext uri="{BB962C8B-B14F-4D97-AF65-F5344CB8AC3E}">
        <p14:creationId xmlns:p14="http://schemas.microsoft.com/office/powerpoint/2010/main" val="1772598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8</a:t>
            </a:fld>
            <a:endParaRPr lang="de-DE"/>
          </a:p>
        </p:txBody>
      </p:sp>
    </p:spTree>
    <p:extLst>
      <p:ext uri="{BB962C8B-B14F-4D97-AF65-F5344CB8AC3E}">
        <p14:creationId xmlns:p14="http://schemas.microsoft.com/office/powerpoint/2010/main" val="35617169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29</a:t>
            </a:fld>
            <a:endParaRPr lang="de-DE"/>
          </a:p>
        </p:txBody>
      </p:sp>
    </p:spTree>
    <p:extLst>
      <p:ext uri="{BB962C8B-B14F-4D97-AF65-F5344CB8AC3E}">
        <p14:creationId xmlns:p14="http://schemas.microsoft.com/office/powerpoint/2010/main" val="15713512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0</a:t>
            </a:fld>
            <a:endParaRPr lang="de-DE"/>
          </a:p>
        </p:txBody>
      </p:sp>
    </p:spTree>
    <p:extLst>
      <p:ext uri="{BB962C8B-B14F-4D97-AF65-F5344CB8AC3E}">
        <p14:creationId xmlns:p14="http://schemas.microsoft.com/office/powerpoint/2010/main" val="3881154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AC91A1E-1F3C-4C24-BF60-687AD334015B}" type="slidenum">
              <a:rPr lang="de-DE" smtClean="0"/>
              <a:pPr/>
              <a:t>3</a:t>
            </a:fld>
            <a:endParaRPr lang="de-DE"/>
          </a:p>
        </p:txBody>
      </p:sp>
    </p:spTree>
    <p:extLst>
      <p:ext uri="{BB962C8B-B14F-4D97-AF65-F5344CB8AC3E}">
        <p14:creationId xmlns:p14="http://schemas.microsoft.com/office/powerpoint/2010/main" val="21505187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A1CCA2-2F67-9AF0-DDEC-C279BA7AB1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DD94CED-D15C-B6FE-5279-903B40581C4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6289CC7-BD9F-C70B-3413-0DC3C3837942}"/>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7D577C1F-01D6-EEF3-CDDD-BC4CC4610283}"/>
              </a:ext>
            </a:extLst>
          </p:cNvPr>
          <p:cNvSpPr>
            <a:spLocks noGrp="1"/>
          </p:cNvSpPr>
          <p:nvPr>
            <p:ph type="sldNum" sz="quarter" idx="5"/>
          </p:nvPr>
        </p:nvSpPr>
        <p:spPr/>
        <p:txBody>
          <a:bodyPr/>
          <a:lstStyle/>
          <a:p>
            <a:fld id="{8EA03A34-464E-4330-B842-BE15B1004585}" type="slidenum">
              <a:rPr lang="de-DE" smtClean="0"/>
              <a:pPr/>
              <a:t>31</a:t>
            </a:fld>
            <a:endParaRPr lang="de-DE"/>
          </a:p>
        </p:txBody>
      </p:sp>
    </p:spTree>
    <p:extLst>
      <p:ext uri="{BB962C8B-B14F-4D97-AF65-F5344CB8AC3E}">
        <p14:creationId xmlns:p14="http://schemas.microsoft.com/office/powerpoint/2010/main" val="24735661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2</a:t>
            </a:fld>
            <a:endParaRPr lang="de-DE"/>
          </a:p>
        </p:txBody>
      </p:sp>
    </p:spTree>
    <p:extLst>
      <p:ext uri="{BB962C8B-B14F-4D97-AF65-F5344CB8AC3E}">
        <p14:creationId xmlns:p14="http://schemas.microsoft.com/office/powerpoint/2010/main" val="25326854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994AE-6F8A-8E50-D81E-A3FC25E9AD6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26A3693-3D52-E522-98AF-304C9E53950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DBBAE9B-F5AC-2A77-E3F5-9FF23F80C5D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42C0BA97-9E30-0CE5-787D-504B08F4EE87}"/>
              </a:ext>
            </a:extLst>
          </p:cNvPr>
          <p:cNvSpPr>
            <a:spLocks noGrp="1"/>
          </p:cNvSpPr>
          <p:nvPr>
            <p:ph type="sldNum" sz="quarter" idx="5"/>
          </p:nvPr>
        </p:nvSpPr>
        <p:spPr/>
        <p:txBody>
          <a:bodyPr/>
          <a:lstStyle/>
          <a:p>
            <a:fld id="{6AC91A1E-1F3C-4C24-BF60-687AD334015B}" type="slidenum">
              <a:rPr lang="de-DE" smtClean="0"/>
              <a:pPr/>
              <a:t>37</a:t>
            </a:fld>
            <a:endParaRPr lang="de-DE"/>
          </a:p>
        </p:txBody>
      </p:sp>
    </p:spTree>
    <p:extLst>
      <p:ext uri="{BB962C8B-B14F-4D97-AF65-F5344CB8AC3E}">
        <p14:creationId xmlns:p14="http://schemas.microsoft.com/office/powerpoint/2010/main" val="8097617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6</a:t>
            </a:fld>
            <a:endParaRPr lang="de-DE"/>
          </a:p>
        </p:txBody>
      </p:sp>
    </p:spTree>
    <p:extLst>
      <p:ext uri="{BB962C8B-B14F-4D97-AF65-F5344CB8AC3E}">
        <p14:creationId xmlns:p14="http://schemas.microsoft.com/office/powerpoint/2010/main" val="15882600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7</a:t>
            </a:fld>
            <a:endParaRPr lang="de-DE"/>
          </a:p>
        </p:txBody>
      </p:sp>
    </p:spTree>
    <p:extLst>
      <p:ext uri="{BB962C8B-B14F-4D97-AF65-F5344CB8AC3E}">
        <p14:creationId xmlns:p14="http://schemas.microsoft.com/office/powerpoint/2010/main" val="23078693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0000"/>
              </a:lnSpc>
            </a:pPr>
            <a:r>
              <a:rPr lang="de-DE" sz="1800">
                <a:solidFill>
                  <a:schemeClr val="bg1"/>
                </a:solidFill>
                <a:latin typeface="Aptos Light" panose="020B0004020202020204" pitchFamily="34" charset="0"/>
                <a:cs typeface="Calibri"/>
              </a:rPr>
              <a:t>2022 Gründung einer Inklusionsfirma für Barrierefreiheit</a:t>
            </a:r>
          </a:p>
          <a:p>
            <a:pPr>
              <a:lnSpc>
                <a:spcPct val="100000"/>
              </a:lnSpc>
            </a:pPr>
            <a:r>
              <a:rPr lang="de-DE" sz="1800">
                <a:solidFill>
                  <a:schemeClr val="bg1"/>
                </a:solidFill>
                <a:latin typeface="Aptos Light" panose="020B0004020202020204" pitchFamily="34" charset="0"/>
                <a:cs typeface="Calibri"/>
              </a:rPr>
              <a:t>im Netz: </a:t>
            </a:r>
            <a:r>
              <a:rPr lang="de-DE" sz="1800" err="1">
                <a:solidFill>
                  <a:schemeClr val="bg1"/>
                </a:solidFill>
                <a:latin typeface="Aptos Light" panose="020B0004020202020204" pitchFamily="34" charset="0"/>
                <a:cs typeface="Calibri"/>
              </a:rPr>
              <a:t>msg.BiN</a:t>
            </a:r>
            <a:endParaRPr lang="de-DE" sz="1800">
              <a:solidFill>
                <a:schemeClr val="bg1"/>
              </a:solidFill>
              <a:latin typeface="Aptos Light" panose="020B0004020202020204" pitchFamily="34" charset="0"/>
              <a:cs typeface="Calibri"/>
            </a:endParaRPr>
          </a:p>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8</a:t>
            </a:fld>
            <a:endParaRPr lang="de-DE"/>
          </a:p>
        </p:txBody>
      </p:sp>
    </p:spTree>
    <p:extLst>
      <p:ext uri="{BB962C8B-B14F-4D97-AF65-F5344CB8AC3E}">
        <p14:creationId xmlns:p14="http://schemas.microsoft.com/office/powerpoint/2010/main" val="31744811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50</a:t>
            </a:fld>
            <a:endParaRPr lang="de-DE"/>
          </a:p>
        </p:txBody>
      </p:sp>
    </p:spTree>
    <p:extLst>
      <p:ext uri="{BB962C8B-B14F-4D97-AF65-F5344CB8AC3E}">
        <p14:creationId xmlns:p14="http://schemas.microsoft.com/office/powerpoint/2010/main" val="21593035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51</a:t>
            </a:fld>
            <a:endParaRPr lang="de-DE"/>
          </a:p>
        </p:txBody>
      </p:sp>
    </p:spTree>
    <p:extLst>
      <p:ext uri="{BB962C8B-B14F-4D97-AF65-F5344CB8AC3E}">
        <p14:creationId xmlns:p14="http://schemas.microsoft.com/office/powerpoint/2010/main" val="199247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a:t>
            </a:fld>
            <a:endParaRPr lang="de-DE"/>
          </a:p>
        </p:txBody>
      </p:sp>
    </p:spTree>
    <p:extLst>
      <p:ext uri="{BB962C8B-B14F-4D97-AF65-F5344CB8AC3E}">
        <p14:creationId xmlns:p14="http://schemas.microsoft.com/office/powerpoint/2010/main" val="1948899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5</a:t>
            </a:fld>
            <a:endParaRPr lang="de-DE"/>
          </a:p>
        </p:txBody>
      </p:sp>
    </p:spTree>
    <p:extLst>
      <p:ext uri="{BB962C8B-B14F-4D97-AF65-F5344CB8AC3E}">
        <p14:creationId xmlns:p14="http://schemas.microsoft.com/office/powerpoint/2010/main" val="3826790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6</a:t>
            </a:fld>
            <a:endParaRPr lang="de-DE"/>
          </a:p>
        </p:txBody>
      </p:sp>
    </p:spTree>
    <p:extLst>
      <p:ext uri="{BB962C8B-B14F-4D97-AF65-F5344CB8AC3E}">
        <p14:creationId xmlns:p14="http://schemas.microsoft.com/office/powerpoint/2010/main" val="2790277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7</a:t>
            </a:fld>
            <a:endParaRPr lang="de-DE"/>
          </a:p>
        </p:txBody>
      </p:sp>
    </p:spTree>
    <p:extLst>
      <p:ext uri="{BB962C8B-B14F-4D97-AF65-F5344CB8AC3E}">
        <p14:creationId xmlns:p14="http://schemas.microsoft.com/office/powerpoint/2010/main" val="8085449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8</a:t>
            </a:fld>
            <a:endParaRPr lang="de-DE"/>
          </a:p>
        </p:txBody>
      </p:sp>
    </p:spTree>
    <p:extLst>
      <p:ext uri="{BB962C8B-B14F-4D97-AF65-F5344CB8AC3E}">
        <p14:creationId xmlns:p14="http://schemas.microsoft.com/office/powerpoint/2010/main" val="1644062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9</a:t>
            </a:fld>
            <a:endParaRPr lang="de-DE"/>
          </a:p>
        </p:txBody>
      </p:sp>
    </p:spTree>
    <p:extLst>
      <p:ext uri="{BB962C8B-B14F-4D97-AF65-F5344CB8AC3E}">
        <p14:creationId xmlns:p14="http://schemas.microsoft.com/office/powerpoint/2010/main" val="18611166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7.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9.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7.svg"/><Relationship Id="rId5" Type="http://schemas.openxmlformats.org/officeDocument/2006/relationships/image" Target="../media/image10.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7.svg"/><Relationship Id="rId5" Type="http://schemas.openxmlformats.org/officeDocument/2006/relationships/image" Target="../media/image10.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99021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57AD32-B33F-D71D-71C0-1BF11E3C22E4}"/>
              </a:ext>
            </a:extLst>
          </p:cNvPr>
          <p:cNvSpPr>
            <a:spLocks noGrp="1"/>
          </p:cNvSpPr>
          <p:nvPr>
            <p:ph type="ctrTitle"/>
          </p:nvPr>
        </p:nvSpPr>
        <p:spPr bwMode="gray">
          <a:xfrm>
            <a:off x="5161920" y="1773239"/>
            <a:ext cx="6695118" cy="1354217"/>
          </a:xfrm>
        </p:spPr>
        <p:txBody>
          <a:bodyPr vert="horz" wrap="square" anchor="b">
            <a:noAutofit/>
          </a:bodyPr>
          <a:lstStyle>
            <a:lvl1pPr algn="l" rtl="0">
              <a:defRPr sz="4400">
                <a:solidFill>
                  <a:schemeClr val="accent1"/>
                </a:solidFill>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5161919" y="3270995"/>
            <a:ext cx="6695122"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sp>
        <p:nvSpPr>
          <p:cNvPr id="115" name="Bildplatzhalter 114" descr="Bild füllt 1/3 der Folie aus, rechts Titel und Untertitel, Bild ist änderbar.">
            <a:extLst>
              <a:ext uri="{FF2B5EF4-FFF2-40B4-BE49-F238E27FC236}">
                <a16:creationId xmlns:a16="http://schemas.microsoft.com/office/drawing/2014/main" id="{EC806E61-62AD-15C1-A1F0-CD9432EC1249}"/>
              </a:ext>
              <a:ext uri="{C183D7F6-B498-43B3-948B-1728B52AA6E4}">
                <adec:decorative xmlns:adec="http://schemas.microsoft.com/office/drawing/2017/decorative" val="0"/>
              </a:ext>
            </a:extLst>
          </p:cNvPr>
          <p:cNvSpPr>
            <a:spLocks noGrp="1"/>
          </p:cNvSpPr>
          <p:nvPr>
            <p:ph type="pic" sz="quarter" idx="11"/>
          </p:nvPr>
        </p:nvSpPr>
        <p:spPr bwMode="gray">
          <a:xfrm>
            <a:off x="1" y="0"/>
            <a:ext cx="4730111" cy="6858000"/>
          </a:xfrm>
          <a:custGeom>
            <a:avLst/>
            <a:gdLst>
              <a:gd name="connsiteX0" fmla="*/ 4729203 w 4730111"/>
              <a:gd name="connsiteY0" fmla="*/ 2672511 h 6858000"/>
              <a:gd name="connsiteX1" fmla="*/ 4730111 w 4730111"/>
              <a:gd name="connsiteY1" fmla="*/ 2672557 h 6858000"/>
              <a:gd name="connsiteX2" fmla="*/ 4730111 w 4730111"/>
              <a:gd name="connsiteY2" fmla="*/ 5415665 h 6858000"/>
              <a:gd name="connsiteX3" fmla="*/ 4729203 w 4730111"/>
              <a:gd name="connsiteY3" fmla="*/ 5415711 h 6858000"/>
              <a:gd name="connsiteX4" fmla="*/ 3357603 w 4730111"/>
              <a:gd name="connsiteY4" fmla="*/ 4044111 h 6858000"/>
              <a:gd name="connsiteX5" fmla="*/ 4729203 w 4730111"/>
              <a:gd name="connsiteY5" fmla="*/ 2672511 h 6858000"/>
              <a:gd name="connsiteX6" fmla="*/ 0 w 4730111"/>
              <a:gd name="connsiteY6" fmla="*/ 0 h 6858000"/>
              <a:gd name="connsiteX7" fmla="*/ 4730111 w 4730111"/>
              <a:gd name="connsiteY7" fmla="*/ 0 h 6858000"/>
              <a:gd name="connsiteX8" fmla="*/ 4730111 w 4730111"/>
              <a:gd name="connsiteY8" fmla="*/ 2595445 h 6858000"/>
              <a:gd name="connsiteX9" fmla="*/ 4729203 w 4730111"/>
              <a:gd name="connsiteY9" fmla="*/ 2595399 h 6858000"/>
              <a:gd name="connsiteX10" fmla="*/ 3280491 w 4730111"/>
              <a:gd name="connsiteY10" fmla="*/ 4044111 h 6858000"/>
              <a:gd name="connsiteX11" fmla="*/ 4729203 w 4730111"/>
              <a:gd name="connsiteY11" fmla="*/ 5492823 h 6858000"/>
              <a:gd name="connsiteX12" fmla="*/ 4730111 w 4730111"/>
              <a:gd name="connsiteY12" fmla="*/ 5492777 h 6858000"/>
              <a:gd name="connsiteX13" fmla="*/ 4730111 w 4730111"/>
              <a:gd name="connsiteY13" fmla="*/ 6858000 h 6858000"/>
              <a:gd name="connsiteX14" fmla="*/ 0 w 4730111"/>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0111" h="6858000">
                <a:moveTo>
                  <a:pt x="4729203" y="2672511"/>
                </a:moveTo>
                <a:lnTo>
                  <a:pt x="4730111" y="2672557"/>
                </a:lnTo>
                <a:lnTo>
                  <a:pt x="4730111" y="5415665"/>
                </a:lnTo>
                <a:lnTo>
                  <a:pt x="4729203" y="5415711"/>
                </a:lnTo>
                <a:cubicBezTo>
                  <a:pt x="3971689" y="5415711"/>
                  <a:pt x="3357603" y="4801625"/>
                  <a:pt x="3357603" y="4044111"/>
                </a:cubicBezTo>
                <a:cubicBezTo>
                  <a:pt x="3357603" y="3286597"/>
                  <a:pt x="3971689" y="2672511"/>
                  <a:pt x="4729203" y="2672511"/>
                </a:cubicBezTo>
                <a:close/>
                <a:moveTo>
                  <a:pt x="0" y="0"/>
                </a:moveTo>
                <a:lnTo>
                  <a:pt x="4730111" y="0"/>
                </a:lnTo>
                <a:lnTo>
                  <a:pt x="4730111" y="2595445"/>
                </a:lnTo>
                <a:lnTo>
                  <a:pt x="4729203" y="2595399"/>
                </a:lnTo>
                <a:cubicBezTo>
                  <a:pt x="3929101" y="2595399"/>
                  <a:pt x="3280491" y="3244009"/>
                  <a:pt x="3280491" y="4044111"/>
                </a:cubicBezTo>
                <a:cubicBezTo>
                  <a:pt x="3280491" y="4844213"/>
                  <a:pt x="3929101" y="5492823"/>
                  <a:pt x="4729203" y="5492823"/>
                </a:cubicBezTo>
                <a:lnTo>
                  <a:pt x="4730111" y="5492777"/>
                </a:lnTo>
                <a:lnTo>
                  <a:pt x="4730111" y="6858000"/>
                </a:lnTo>
                <a:lnTo>
                  <a:pt x="0" y="6858000"/>
                </a:lnTo>
                <a:close/>
              </a:path>
            </a:pathLst>
          </a:custGeom>
          <a:solidFill>
            <a:schemeClr val="bg2"/>
          </a:solidFill>
        </p:spPr>
        <p:txBody>
          <a:bodyPr wrap="square">
            <a:noAutofit/>
          </a:bodyPr>
          <a:lstStyle/>
          <a:p>
            <a:r>
              <a:rPr lang="de-DE"/>
              <a:t>Bild durch Klicken auf Symbol hinzufügen</a:t>
            </a:r>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8" name="Freihandform: Form 37">
            <a:extLst>
              <a:ext uri="{FF2B5EF4-FFF2-40B4-BE49-F238E27FC236}">
                <a16:creationId xmlns:a16="http://schemas.microsoft.com/office/drawing/2014/main" id="{39D4AD47-F725-9804-EA20-2F299922C3B1}"/>
              </a:ext>
              <a:ext uri="{C183D7F6-B498-43B3-948B-1728B52AA6E4}">
                <adec:decorative xmlns:adec="http://schemas.microsoft.com/office/drawing/2017/decorative" val="1"/>
              </a:ext>
            </a:extLst>
          </p:cNvPr>
          <p:cNvSpPr>
            <a:spLocks/>
          </p:cNvSpPr>
          <p:nvPr userDrawn="1"/>
        </p:nvSpPr>
        <p:spPr bwMode="gray">
          <a:xfrm>
            <a:off x="4730111"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43" name="Gruppieren 42">
            <a:extLst>
              <a:ext uri="{FF2B5EF4-FFF2-40B4-BE49-F238E27FC236}">
                <a16:creationId xmlns:a16="http://schemas.microsoft.com/office/drawing/2014/main" id="{2265DFCC-F233-A485-88E8-2C892CB04940}"/>
              </a:ext>
              <a:ext uri="{C183D7F6-B498-43B3-948B-1728B52AA6E4}">
                <adec:decorative xmlns:adec="http://schemas.microsoft.com/office/drawing/2017/decorative" val="1"/>
              </a:ext>
            </a:extLst>
          </p:cNvPr>
          <p:cNvGrpSpPr>
            <a:grpSpLocks/>
          </p:cNvGrpSpPr>
          <p:nvPr userDrawn="1"/>
        </p:nvGrpSpPr>
        <p:grpSpPr bwMode="gray">
          <a:xfrm>
            <a:off x="9768114" y="497078"/>
            <a:ext cx="1915180" cy="598005"/>
            <a:chOff x="5324475" y="3186112"/>
            <a:chExt cx="1546859" cy="483775"/>
          </a:xfrm>
        </p:grpSpPr>
        <p:sp>
          <p:nvSpPr>
            <p:cNvPr id="44" name="Freihandform: Form 43">
              <a:extLst>
                <a:ext uri="{FF2B5EF4-FFF2-40B4-BE49-F238E27FC236}">
                  <a16:creationId xmlns:a16="http://schemas.microsoft.com/office/drawing/2014/main" id="{EBB9B7B0-B16F-358F-7D80-BA0C13D16C55}"/>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45" name="Freihandform: Form 44">
              <a:extLst>
                <a:ext uri="{FF2B5EF4-FFF2-40B4-BE49-F238E27FC236}">
                  <a16:creationId xmlns:a16="http://schemas.microsoft.com/office/drawing/2014/main" id="{C923EA93-60A8-78D4-7BE9-D8846D0AC10F}"/>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94" name="Gruppieren 193">
            <a:extLst>
              <a:ext uri="{FF2B5EF4-FFF2-40B4-BE49-F238E27FC236}">
                <a16:creationId xmlns:a16="http://schemas.microsoft.com/office/drawing/2014/main" id="{A3811DA7-364A-B341-4230-C092FB6FD351}"/>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3CCFF7FE-7565-4968-7AF1-0F0BE2DC7C3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C9ACC59B-A453-C6BE-6472-98C2ECF3FE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1131A078-F452-9C8F-058F-AF67F493B60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49E20DE0-9297-4E53-063D-891AB6F50B4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1D2A5BFC-0746-E840-27B7-8F7154B2173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DF6E6E15-004C-6BEF-0238-AAAD6F787678}"/>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1D008AEF-FD6F-5A25-7138-32B616CAFAD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1F7B3A71-9F16-6074-908B-10A4C7CD728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D430E444-BF1C-AC31-31F4-C6D9432793E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67259A84-FA09-C7B4-50E0-B3559027945F}"/>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2649E30C-CCC7-2984-0ED1-8C275546A63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E768D608-E96D-4626-3DA7-C9163C4970F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FB5288C3-A930-1810-F79E-E619AE7366F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FF2651DF-BE15-D2D9-6867-0705D2E92D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F64EEDF-5235-E4C3-54EC-0B551AF39C8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031459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946209BE-99B0-239D-3766-03FF0A1E5587}"/>
              </a:ext>
            </a:extLst>
          </p:cNvPr>
          <p:cNvSpPr>
            <a:spLocks noGrp="1"/>
          </p:cNvSpPr>
          <p:nvPr>
            <p:ph type="pic" sz="quarter" idx="13"/>
          </p:nvPr>
        </p:nvSpPr>
        <p:spPr>
          <a:xfrm>
            <a:off x="-31750" y="-44450"/>
            <a:ext cx="4100513" cy="6902450"/>
          </a:xfrm>
          <a:solidFill>
            <a:schemeClr val="bg2"/>
          </a:solidFill>
        </p:spPr>
        <p:txBody>
          <a:bodyPr/>
          <a:lstStyle/>
          <a:p>
            <a:endParaRPr lang="de-DE"/>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5890523" y="956286"/>
            <a:ext cx="5966516" cy="738664"/>
          </a:xfrm>
        </p:spPr>
        <p:txBody>
          <a:bodyPr vert="horz"/>
          <a:lstStyle>
            <a:lvl1pPr rtl="0">
              <a:defRPr/>
            </a:lvl1pPr>
          </a:lstStyle>
          <a:p>
            <a:r>
              <a:rPr lang="de-DE"/>
              <a:t>Mastertitelformat bearbeiten</a:t>
            </a:r>
          </a:p>
        </p:txBody>
      </p:sp>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666735" y="6443762"/>
            <a:ext cx="4968501" cy="153888"/>
          </a:xfrm>
        </p:spPr>
        <p:txBody>
          <a:bodyPr/>
          <a:lstStyle>
            <a:lvl1pPr rtl="0">
              <a:defRPr/>
            </a:lvl1pPr>
          </a:lstStyle>
          <a:p>
            <a:r>
              <a:rPr lang="de-DE" dirty="0"/>
              <a:t>© </a:t>
            </a:r>
            <a:r>
              <a:rPr lang="de-DE" dirty="0" err="1"/>
              <a:t>msg</a:t>
            </a:r>
            <a:r>
              <a:rPr lang="de-DE" dirty="0"/>
              <a:t> </a:t>
            </a:r>
            <a:r>
              <a:rPr lang="de-DE" dirty="0" err="1"/>
              <a:t>systems</a:t>
            </a:r>
            <a:r>
              <a:rPr lang="de-DE" dirty="0"/>
              <a:t> </a:t>
            </a:r>
            <a:r>
              <a:rPr lang="de-DE" dirty="0" err="1"/>
              <a:t>ag</a:t>
            </a:r>
            <a:r>
              <a:rPr lang="de-DE" dirty="0"/>
              <a:t> | 2026 | </a:t>
            </a:r>
            <a:r>
              <a:rPr lang="de-DE" dirty="0" err="1"/>
              <a:t>msg</a:t>
            </a:r>
            <a:r>
              <a:rPr lang="de-DE" dirty="0"/>
              <a:t>-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a:xfrm>
            <a:off x="11425418" y="6443762"/>
            <a:ext cx="431620" cy="153888"/>
          </a:xfrm>
        </p:spPr>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3548095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51828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1773239"/>
            <a:ext cx="540054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descr="Recht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6456480" y="1773239"/>
            <a:ext cx="5400557"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dirty="0"/>
              <a:t>© msg systems ag | 2026 | msg Company Pre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1621523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33568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90" y="1773239"/>
            <a:ext cx="3456346"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descr="Mittler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2282" y="1773239"/>
            <a:ext cx="3456350"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descr="Rechte Textbox">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678" y="1773239"/>
            <a:ext cx="3456359"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1684967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und Bild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4738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1" name="Bildplatzhalter 90" descr="Bild füllt 1/3 der Folie aus, rechts Titel, Untertitel und Inhaltsbereich, Bild ist änderbar">
            <a:extLst>
              <a:ext uri="{FF2B5EF4-FFF2-40B4-BE49-F238E27FC236}">
                <a16:creationId xmlns:a16="http://schemas.microsoft.com/office/drawing/2014/main" id="{007B28C8-5E97-92DD-BBC1-001A15B6747A}"/>
              </a:ext>
            </a:extLst>
          </p:cNvPr>
          <p:cNvSpPr>
            <a:spLocks noGrp="1"/>
          </p:cNvSpPr>
          <p:nvPr>
            <p:ph type="pic" sz="quarter" idx="14"/>
          </p:nvPr>
        </p:nvSpPr>
        <p:spPr bwMode="gray">
          <a:xfrm>
            <a:off x="0" y="1"/>
            <a:ext cx="4302682" cy="6857999"/>
          </a:xfrm>
          <a:custGeom>
            <a:avLst/>
            <a:gdLst>
              <a:gd name="connsiteX0" fmla="*/ 0 w 4302682"/>
              <a:gd name="connsiteY0" fmla="*/ 0 h 6857999"/>
              <a:gd name="connsiteX1" fmla="*/ 3867433 w 4302682"/>
              <a:gd name="connsiteY1" fmla="*/ 0 h 6857999"/>
              <a:gd name="connsiteX2" fmla="*/ 3867433 w 4302682"/>
              <a:gd name="connsiteY2" fmla="*/ 1557589 h 6857999"/>
              <a:gd name="connsiteX3" fmla="*/ 4083081 w 4302682"/>
              <a:gd name="connsiteY3" fmla="*/ 1773237 h 6857999"/>
              <a:gd name="connsiteX4" fmla="*/ 4302682 w 4302682"/>
              <a:gd name="connsiteY4" fmla="*/ 1773237 h 6857999"/>
              <a:gd name="connsiteX5" fmla="*/ 4302682 w 4302682"/>
              <a:gd name="connsiteY5" fmla="*/ 6857999 h 6857999"/>
              <a:gd name="connsiteX6" fmla="*/ 0 w 4302682"/>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02682" h="6857999">
                <a:moveTo>
                  <a:pt x="0" y="0"/>
                </a:moveTo>
                <a:lnTo>
                  <a:pt x="3867433" y="0"/>
                </a:lnTo>
                <a:lnTo>
                  <a:pt x="3867433" y="1557589"/>
                </a:lnTo>
                <a:cubicBezTo>
                  <a:pt x="3867433" y="1676688"/>
                  <a:pt x="3963982" y="1773237"/>
                  <a:pt x="4083081" y="1773237"/>
                </a:cubicBezTo>
                <a:lnTo>
                  <a:pt x="4302682" y="1773237"/>
                </a:lnTo>
                <a:lnTo>
                  <a:pt x="4302682"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944328" y="296863"/>
            <a:ext cx="4974926"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4944328" y="620713"/>
            <a:ext cx="4974926"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4944324" y="1773239"/>
            <a:ext cx="691271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944324" y="6443762"/>
            <a:ext cx="4974930" cy="153888"/>
          </a:xfrm>
        </p:spPr>
        <p:txBody>
          <a:bodyPr/>
          <a:lstStyle>
            <a:lvl1pPr rtl="0">
              <a:defRPr>
                <a:solidFill>
                  <a:schemeClr val="tx1"/>
                </a:solidFill>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803624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und Bild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943067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2" name="Bildplatzhalter 111" descr="Bild füllt die Hälfte der Folie aus, links Titel , Untertitel und Inhaltsbereich, Bild ist änderbar">
            <a:extLst>
              <a:ext uri="{FF2B5EF4-FFF2-40B4-BE49-F238E27FC236}">
                <a16:creationId xmlns:a16="http://schemas.microsoft.com/office/drawing/2014/main" id="{57BE64DB-4F36-89B3-381F-1A5523E83103}"/>
              </a:ext>
            </a:extLst>
          </p:cNvPr>
          <p:cNvSpPr>
            <a:spLocks noGrp="1"/>
          </p:cNvSpPr>
          <p:nvPr>
            <p:ph type="pic" sz="quarter" idx="14"/>
          </p:nvPr>
        </p:nvSpPr>
        <p:spPr bwMode="gray">
          <a:xfrm>
            <a:off x="6024438" y="1"/>
            <a:ext cx="6167561" cy="6857999"/>
          </a:xfrm>
          <a:custGeom>
            <a:avLst/>
            <a:gdLst>
              <a:gd name="connsiteX0" fmla="*/ 4723326 w 6167561"/>
              <a:gd name="connsiteY0" fmla="*/ 454510 h 6857999"/>
              <a:gd name="connsiteX1" fmla="*/ 4662622 w 6167561"/>
              <a:gd name="connsiteY1" fmla="*/ 514510 h 6857999"/>
              <a:gd name="connsiteX2" fmla="*/ 4723326 w 6167561"/>
              <a:gd name="connsiteY2" fmla="*/ 574510 h 6857999"/>
              <a:gd name="connsiteX3" fmla="*/ 4784030 w 6167561"/>
              <a:gd name="connsiteY3" fmla="*/ 514510 h 6857999"/>
              <a:gd name="connsiteX4" fmla="*/ 4723326 w 6167561"/>
              <a:gd name="connsiteY4" fmla="*/ 454510 h 6857999"/>
              <a:gd name="connsiteX5" fmla="*/ 5673408 w 6167561"/>
              <a:gd name="connsiteY5" fmla="*/ 338981 h 6857999"/>
              <a:gd name="connsiteX6" fmla="*/ 5778153 w 6167561"/>
              <a:gd name="connsiteY6" fmla="*/ 338981 h 6857999"/>
              <a:gd name="connsiteX7" fmla="*/ 5778153 w 6167561"/>
              <a:gd name="connsiteY7" fmla="*/ 530745 h 6857999"/>
              <a:gd name="connsiteX8" fmla="*/ 5671266 w 6167561"/>
              <a:gd name="connsiteY8" fmla="*/ 530745 h 6857999"/>
              <a:gd name="connsiteX9" fmla="*/ 5606752 w 6167561"/>
              <a:gd name="connsiteY9" fmla="*/ 492628 h 6857999"/>
              <a:gd name="connsiteX10" fmla="*/ 5606752 w 6167561"/>
              <a:gd name="connsiteY10" fmla="*/ 432863 h 6857999"/>
              <a:gd name="connsiteX11" fmla="*/ 5606752 w 6167561"/>
              <a:gd name="connsiteY11" fmla="*/ 383687 h 6857999"/>
              <a:gd name="connsiteX12" fmla="*/ 5673408 w 6167561"/>
              <a:gd name="connsiteY12" fmla="*/ 338981 h 6857999"/>
              <a:gd name="connsiteX13" fmla="*/ 5655792 w 6167561"/>
              <a:gd name="connsiteY13" fmla="*/ 296863 h 6857999"/>
              <a:gd name="connsiteX14" fmla="*/ 5581042 w 6167561"/>
              <a:gd name="connsiteY14" fmla="*/ 313804 h 6857999"/>
              <a:gd name="connsiteX15" fmla="*/ 5554856 w 6167561"/>
              <a:gd name="connsiteY15" fmla="*/ 384392 h 6857999"/>
              <a:gd name="connsiteX16" fmla="*/ 5554856 w 6167561"/>
              <a:gd name="connsiteY16" fmla="*/ 483922 h 6857999"/>
              <a:gd name="connsiteX17" fmla="*/ 5582708 w 6167561"/>
              <a:gd name="connsiteY17" fmla="*/ 558275 h 6857999"/>
              <a:gd name="connsiteX18" fmla="*/ 5656030 w 6167561"/>
              <a:gd name="connsiteY18" fmla="*/ 572628 h 6857999"/>
              <a:gd name="connsiteX19" fmla="*/ 5778153 w 6167561"/>
              <a:gd name="connsiteY19" fmla="*/ 572628 h 6857999"/>
              <a:gd name="connsiteX20" fmla="*/ 5778153 w 6167561"/>
              <a:gd name="connsiteY20" fmla="*/ 583216 h 6857999"/>
              <a:gd name="connsiteX21" fmla="*/ 5749824 w 6167561"/>
              <a:gd name="connsiteY21" fmla="*/ 613098 h 6857999"/>
              <a:gd name="connsiteX22" fmla="*/ 5590564 w 6167561"/>
              <a:gd name="connsiteY22" fmla="*/ 613098 h 6857999"/>
              <a:gd name="connsiteX23" fmla="*/ 5590564 w 6167561"/>
              <a:gd name="connsiteY23" fmla="*/ 657334 h 6857999"/>
              <a:gd name="connsiteX24" fmla="*/ 5766250 w 6167561"/>
              <a:gd name="connsiteY24" fmla="*/ 657334 h 6857999"/>
              <a:gd name="connsiteX25" fmla="*/ 5828859 w 6167561"/>
              <a:gd name="connsiteY25" fmla="*/ 597098 h 6857999"/>
              <a:gd name="connsiteX26" fmla="*/ 5828859 w 6167561"/>
              <a:gd name="connsiteY26" fmla="*/ 296863 h 6857999"/>
              <a:gd name="connsiteX27" fmla="*/ 5317276 w 6167561"/>
              <a:gd name="connsiteY27" fmla="*/ 296863 h 6857999"/>
              <a:gd name="connsiteX28" fmla="*/ 5245621 w 6167561"/>
              <a:gd name="connsiteY28" fmla="*/ 373334 h 6857999"/>
              <a:gd name="connsiteX29" fmla="*/ 5313705 w 6167561"/>
              <a:gd name="connsiteY29" fmla="*/ 452863 h 6857999"/>
              <a:gd name="connsiteX30" fmla="*/ 5434876 w 6167561"/>
              <a:gd name="connsiteY30" fmla="*/ 452863 h 6857999"/>
              <a:gd name="connsiteX31" fmla="*/ 5472012 w 6167561"/>
              <a:gd name="connsiteY31" fmla="*/ 494039 h 6857999"/>
              <a:gd name="connsiteX32" fmla="*/ 5435828 w 6167561"/>
              <a:gd name="connsiteY32" fmla="*/ 530745 h 6857999"/>
              <a:gd name="connsiteX33" fmla="*/ 5250382 w 6167561"/>
              <a:gd name="connsiteY33" fmla="*/ 530745 h 6857999"/>
              <a:gd name="connsiteX34" fmla="*/ 5250382 w 6167561"/>
              <a:gd name="connsiteY34" fmla="*/ 572863 h 6857999"/>
              <a:gd name="connsiteX35" fmla="*/ 5457254 w 6167561"/>
              <a:gd name="connsiteY35" fmla="*/ 572863 h 6857999"/>
              <a:gd name="connsiteX36" fmla="*/ 5523671 w 6167561"/>
              <a:gd name="connsiteY36" fmla="*/ 494510 h 6857999"/>
              <a:gd name="connsiteX37" fmla="*/ 5460586 w 6167561"/>
              <a:gd name="connsiteY37" fmla="*/ 411216 h 6857999"/>
              <a:gd name="connsiteX38" fmla="*/ 5329655 w 6167561"/>
              <a:gd name="connsiteY38" fmla="*/ 411216 h 6857999"/>
              <a:gd name="connsiteX39" fmla="*/ 5296565 w 6167561"/>
              <a:gd name="connsiteY39" fmla="*/ 374510 h 6857999"/>
              <a:gd name="connsiteX40" fmla="*/ 5335130 w 6167561"/>
              <a:gd name="connsiteY40" fmla="*/ 338981 h 6857999"/>
              <a:gd name="connsiteX41" fmla="*/ 5513911 w 6167561"/>
              <a:gd name="connsiteY41" fmla="*/ 338981 h 6857999"/>
              <a:gd name="connsiteX42" fmla="*/ 5513911 w 6167561"/>
              <a:gd name="connsiteY42" fmla="*/ 297098 h 6857999"/>
              <a:gd name="connsiteX43" fmla="*/ 4823309 w 6167561"/>
              <a:gd name="connsiteY43" fmla="*/ 296863 h 6857999"/>
              <a:gd name="connsiteX44" fmla="*/ 4823309 w 6167561"/>
              <a:gd name="connsiteY44" fmla="*/ 572628 h 6857999"/>
              <a:gd name="connsiteX45" fmla="*/ 4874253 w 6167561"/>
              <a:gd name="connsiteY45" fmla="*/ 572628 h 6857999"/>
              <a:gd name="connsiteX46" fmla="*/ 4874253 w 6167561"/>
              <a:gd name="connsiteY46" fmla="*/ 338745 h 6857999"/>
              <a:gd name="connsiteX47" fmla="*/ 4990900 w 6167561"/>
              <a:gd name="connsiteY47" fmla="*/ 338745 h 6857999"/>
              <a:gd name="connsiteX48" fmla="*/ 4990900 w 6167561"/>
              <a:gd name="connsiteY48" fmla="*/ 572628 h 6857999"/>
              <a:gd name="connsiteX49" fmla="*/ 5042082 w 6167561"/>
              <a:gd name="connsiteY49" fmla="*/ 572628 h 6857999"/>
              <a:gd name="connsiteX50" fmla="*/ 5042082 w 6167561"/>
              <a:gd name="connsiteY50" fmla="*/ 338745 h 6857999"/>
              <a:gd name="connsiteX51" fmla="*/ 5119688 w 6167561"/>
              <a:gd name="connsiteY51" fmla="*/ 338745 h 6857999"/>
              <a:gd name="connsiteX52" fmla="*/ 5164444 w 6167561"/>
              <a:gd name="connsiteY52" fmla="*/ 387922 h 6857999"/>
              <a:gd name="connsiteX53" fmla="*/ 5164444 w 6167561"/>
              <a:gd name="connsiteY53" fmla="*/ 572628 h 6857999"/>
              <a:gd name="connsiteX54" fmla="*/ 5215388 w 6167561"/>
              <a:gd name="connsiteY54" fmla="*/ 572628 h 6857999"/>
              <a:gd name="connsiteX55" fmla="*/ 5215388 w 6167561"/>
              <a:gd name="connsiteY55" fmla="*/ 374039 h 6857999"/>
              <a:gd name="connsiteX56" fmla="*/ 5145399 w 6167561"/>
              <a:gd name="connsiteY56" fmla="*/ 296863 h 6857999"/>
              <a:gd name="connsiteX57" fmla="*/ 432037 w 6167561"/>
              <a:gd name="connsiteY57" fmla="*/ 0 h 6857999"/>
              <a:gd name="connsiteX58" fmla="*/ 6167561 w 6167561"/>
              <a:gd name="connsiteY58" fmla="*/ 0 h 6857999"/>
              <a:gd name="connsiteX59" fmla="*/ 6167561 w 6167561"/>
              <a:gd name="connsiteY59" fmla="*/ 6857999 h 6857999"/>
              <a:gd name="connsiteX60" fmla="*/ 0 w 6167561"/>
              <a:gd name="connsiteY60" fmla="*/ 6857999 h 6857999"/>
              <a:gd name="connsiteX61" fmla="*/ 0 w 6167561"/>
              <a:gd name="connsiteY61" fmla="*/ 1773237 h 6857999"/>
              <a:gd name="connsiteX62" fmla="*/ 216034 w 6167561"/>
              <a:gd name="connsiteY62" fmla="*/ 1773237 h 6857999"/>
              <a:gd name="connsiteX63" fmla="*/ 231901 w 6167561"/>
              <a:gd name="connsiteY63" fmla="*/ 1773237 h 6857999"/>
              <a:gd name="connsiteX64" fmla="*/ 248100 w 6167561"/>
              <a:gd name="connsiteY64" fmla="*/ 1770005 h 6857999"/>
              <a:gd name="connsiteX65" fmla="*/ 259566 w 6167561"/>
              <a:gd name="connsiteY65" fmla="*/ 1768849 h 6857999"/>
              <a:gd name="connsiteX66" fmla="*/ 269778 w 6167561"/>
              <a:gd name="connsiteY66" fmla="*/ 1765679 h 6857999"/>
              <a:gd name="connsiteX67" fmla="*/ 277036 w 6167561"/>
              <a:gd name="connsiteY67" fmla="*/ 1764231 h 6857999"/>
              <a:gd name="connsiteX68" fmla="*/ 279296 w 6167561"/>
              <a:gd name="connsiteY68" fmla="*/ 1762724 h 6857999"/>
              <a:gd name="connsiteX69" fmla="*/ 300112 w 6167561"/>
              <a:gd name="connsiteY69" fmla="*/ 1756263 h 6857999"/>
              <a:gd name="connsiteX70" fmla="*/ 432037 w 6167561"/>
              <a:gd name="connsiteY70" fmla="*/ 155723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167561" h="6857999">
                <a:moveTo>
                  <a:pt x="4723326" y="454510"/>
                </a:moveTo>
                <a:cubicBezTo>
                  <a:pt x="4689760" y="454510"/>
                  <a:pt x="4662622" y="481334"/>
                  <a:pt x="4662622" y="514510"/>
                </a:cubicBezTo>
                <a:cubicBezTo>
                  <a:pt x="4662622" y="547686"/>
                  <a:pt x="4689760" y="574510"/>
                  <a:pt x="4723326" y="574510"/>
                </a:cubicBezTo>
                <a:cubicBezTo>
                  <a:pt x="4756892" y="574510"/>
                  <a:pt x="4784030" y="547686"/>
                  <a:pt x="4784030" y="514510"/>
                </a:cubicBezTo>
                <a:cubicBezTo>
                  <a:pt x="4784030" y="481334"/>
                  <a:pt x="4756892" y="454510"/>
                  <a:pt x="4723326" y="454510"/>
                </a:cubicBezTo>
                <a:close/>
                <a:moveTo>
                  <a:pt x="5673408" y="338981"/>
                </a:moveTo>
                <a:lnTo>
                  <a:pt x="5778153" y="338981"/>
                </a:lnTo>
                <a:lnTo>
                  <a:pt x="5778153" y="530745"/>
                </a:lnTo>
                <a:lnTo>
                  <a:pt x="5671266" y="530745"/>
                </a:lnTo>
                <a:cubicBezTo>
                  <a:pt x="5639604" y="530981"/>
                  <a:pt x="5607704" y="533098"/>
                  <a:pt x="5606752" y="492628"/>
                </a:cubicBezTo>
                <a:cubicBezTo>
                  <a:pt x="5606752" y="490981"/>
                  <a:pt x="5606514" y="476157"/>
                  <a:pt x="5606752" y="432863"/>
                </a:cubicBezTo>
                <a:cubicBezTo>
                  <a:pt x="5606991" y="396157"/>
                  <a:pt x="5606514" y="387451"/>
                  <a:pt x="5606752" y="383687"/>
                </a:cubicBezTo>
                <a:cubicBezTo>
                  <a:pt x="5608418" y="349804"/>
                  <a:pt x="5621036" y="337804"/>
                  <a:pt x="5673408" y="338981"/>
                </a:cubicBezTo>
                <a:close/>
                <a:moveTo>
                  <a:pt x="5655792" y="296863"/>
                </a:moveTo>
                <a:cubicBezTo>
                  <a:pt x="5610324" y="296863"/>
                  <a:pt x="5593422" y="303922"/>
                  <a:pt x="5581042" y="313804"/>
                </a:cubicBezTo>
                <a:cubicBezTo>
                  <a:pt x="5567474" y="324628"/>
                  <a:pt x="5555094" y="338039"/>
                  <a:pt x="5554856" y="384392"/>
                </a:cubicBezTo>
                <a:lnTo>
                  <a:pt x="5554856" y="483922"/>
                </a:lnTo>
                <a:cubicBezTo>
                  <a:pt x="5554856" y="532863"/>
                  <a:pt x="5568663" y="546745"/>
                  <a:pt x="5582708" y="558275"/>
                </a:cubicBezTo>
                <a:cubicBezTo>
                  <a:pt x="5592230" y="564863"/>
                  <a:pt x="5607943" y="572628"/>
                  <a:pt x="5656030" y="572628"/>
                </a:cubicBezTo>
                <a:lnTo>
                  <a:pt x="5778153" y="572628"/>
                </a:lnTo>
                <a:lnTo>
                  <a:pt x="5778153" y="583216"/>
                </a:lnTo>
                <a:cubicBezTo>
                  <a:pt x="5778153" y="604157"/>
                  <a:pt x="5774106" y="613098"/>
                  <a:pt x="5749824" y="613098"/>
                </a:cubicBezTo>
                <a:lnTo>
                  <a:pt x="5590564" y="613098"/>
                </a:lnTo>
                <a:lnTo>
                  <a:pt x="5590564" y="657334"/>
                </a:lnTo>
                <a:lnTo>
                  <a:pt x="5766250" y="657334"/>
                </a:lnTo>
                <a:cubicBezTo>
                  <a:pt x="5813624" y="657334"/>
                  <a:pt x="5828859" y="636392"/>
                  <a:pt x="5828859" y="597098"/>
                </a:cubicBezTo>
                <a:lnTo>
                  <a:pt x="5828859" y="296863"/>
                </a:lnTo>
                <a:close/>
                <a:moveTo>
                  <a:pt x="5317276" y="296863"/>
                </a:moveTo>
                <a:cubicBezTo>
                  <a:pt x="5262286" y="296863"/>
                  <a:pt x="5245621" y="333098"/>
                  <a:pt x="5245621" y="373334"/>
                </a:cubicBezTo>
                <a:cubicBezTo>
                  <a:pt x="5245621" y="416628"/>
                  <a:pt x="5263713" y="452863"/>
                  <a:pt x="5313705" y="452863"/>
                </a:cubicBezTo>
                <a:lnTo>
                  <a:pt x="5434876" y="452863"/>
                </a:lnTo>
                <a:cubicBezTo>
                  <a:pt x="5472012" y="452863"/>
                  <a:pt x="5472012" y="481098"/>
                  <a:pt x="5472012" y="494039"/>
                </a:cubicBezTo>
                <a:cubicBezTo>
                  <a:pt x="5472012" y="506039"/>
                  <a:pt x="5472012" y="530745"/>
                  <a:pt x="5435828" y="530745"/>
                </a:cubicBezTo>
                <a:lnTo>
                  <a:pt x="5250382" y="530745"/>
                </a:lnTo>
                <a:lnTo>
                  <a:pt x="5250382" y="572863"/>
                </a:lnTo>
                <a:lnTo>
                  <a:pt x="5457254" y="572863"/>
                </a:lnTo>
                <a:cubicBezTo>
                  <a:pt x="5508912" y="572863"/>
                  <a:pt x="5523671" y="542981"/>
                  <a:pt x="5523671" y="494510"/>
                </a:cubicBezTo>
                <a:cubicBezTo>
                  <a:pt x="5523671" y="436863"/>
                  <a:pt x="5504626" y="411216"/>
                  <a:pt x="5460586" y="411216"/>
                </a:cubicBezTo>
                <a:lnTo>
                  <a:pt x="5329655" y="411216"/>
                </a:lnTo>
                <a:cubicBezTo>
                  <a:pt x="5296565" y="411216"/>
                  <a:pt x="5296565" y="389098"/>
                  <a:pt x="5296565" y="374510"/>
                </a:cubicBezTo>
                <a:cubicBezTo>
                  <a:pt x="5296565" y="362981"/>
                  <a:pt x="5299898" y="338981"/>
                  <a:pt x="5335130" y="338981"/>
                </a:cubicBezTo>
                <a:lnTo>
                  <a:pt x="5513911" y="338981"/>
                </a:lnTo>
                <a:lnTo>
                  <a:pt x="5513911" y="297098"/>
                </a:lnTo>
                <a:close/>
                <a:moveTo>
                  <a:pt x="4823309" y="296863"/>
                </a:moveTo>
                <a:lnTo>
                  <a:pt x="4823309" y="572628"/>
                </a:lnTo>
                <a:lnTo>
                  <a:pt x="4874253" y="572628"/>
                </a:lnTo>
                <a:lnTo>
                  <a:pt x="4874253" y="338745"/>
                </a:lnTo>
                <a:lnTo>
                  <a:pt x="4990900" y="338745"/>
                </a:lnTo>
                <a:lnTo>
                  <a:pt x="4990900" y="572628"/>
                </a:lnTo>
                <a:lnTo>
                  <a:pt x="5042082" y="572628"/>
                </a:lnTo>
                <a:lnTo>
                  <a:pt x="5042082" y="338745"/>
                </a:lnTo>
                <a:lnTo>
                  <a:pt x="5119688" y="338745"/>
                </a:lnTo>
                <a:cubicBezTo>
                  <a:pt x="5145876" y="338745"/>
                  <a:pt x="5164444" y="354275"/>
                  <a:pt x="5164444" y="387922"/>
                </a:cubicBezTo>
                <a:lnTo>
                  <a:pt x="5164444" y="572628"/>
                </a:lnTo>
                <a:lnTo>
                  <a:pt x="5215388" y="572628"/>
                </a:lnTo>
                <a:lnTo>
                  <a:pt x="5215388" y="374039"/>
                </a:lnTo>
                <a:cubicBezTo>
                  <a:pt x="5215388" y="336392"/>
                  <a:pt x="5195868" y="296863"/>
                  <a:pt x="5145399" y="296863"/>
                </a:cubicBezTo>
                <a:close/>
                <a:moveTo>
                  <a:pt x="432037" y="0"/>
                </a:moveTo>
                <a:lnTo>
                  <a:pt x="6167561" y="0"/>
                </a:lnTo>
                <a:lnTo>
                  <a:pt x="6167561" y="6857999"/>
                </a:lnTo>
                <a:lnTo>
                  <a:pt x="0" y="6857999"/>
                </a:lnTo>
                <a:lnTo>
                  <a:pt x="0" y="1773237"/>
                </a:lnTo>
                <a:lnTo>
                  <a:pt x="216034" y="1773237"/>
                </a:lnTo>
                <a:lnTo>
                  <a:pt x="231901" y="1773237"/>
                </a:lnTo>
                <a:lnTo>
                  <a:pt x="248100" y="1770005"/>
                </a:lnTo>
                <a:lnTo>
                  <a:pt x="259566" y="1768849"/>
                </a:lnTo>
                <a:lnTo>
                  <a:pt x="269778" y="1765679"/>
                </a:lnTo>
                <a:lnTo>
                  <a:pt x="277036" y="1764231"/>
                </a:lnTo>
                <a:lnTo>
                  <a:pt x="279296" y="1762724"/>
                </a:lnTo>
                <a:lnTo>
                  <a:pt x="300112" y="1756263"/>
                </a:lnTo>
                <a:cubicBezTo>
                  <a:pt x="377639" y="1723471"/>
                  <a:pt x="432037" y="1646705"/>
                  <a:pt x="432037" y="1557234"/>
                </a:cubicBez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475247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4752478"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4752478"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0" name="Fußzeilenplatzhalter 189">
            <a:extLst>
              <a:ext uri="{FF2B5EF4-FFF2-40B4-BE49-F238E27FC236}">
                <a16:creationId xmlns:a16="http://schemas.microsoft.com/office/drawing/2014/main" id="{67B18C16-2F61-1021-9B48-B18BC20FCE67}"/>
              </a:ext>
            </a:extLst>
          </p:cNvPr>
          <p:cNvSpPr>
            <a:spLocks noGrp="1"/>
          </p:cNvSpPr>
          <p:nvPr>
            <p:ph type="ftr" sz="quarter" idx="15"/>
          </p:nvPr>
        </p:nvSpPr>
        <p:spPr/>
        <p:txBody>
          <a:bodyPr/>
          <a:lstStyle/>
          <a:p>
            <a:r>
              <a:rPr lang="en-US"/>
              <a:t>© msg systems ag | 2025 | msg Company Presentation</a:t>
            </a:r>
            <a:endParaRPr lang="de-DE"/>
          </a:p>
        </p:txBody>
      </p:sp>
      <p:sp>
        <p:nvSpPr>
          <p:cNvPr id="191" name="Foliennummernplatzhalter 190">
            <a:extLst>
              <a:ext uri="{FF2B5EF4-FFF2-40B4-BE49-F238E27FC236}">
                <a16:creationId xmlns:a16="http://schemas.microsoft.com/office/drawing/2014/main" id="{0B3DE3E7-6D43-4C73-D660-56E6F7F5C4AF}"/>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2" name="Gruppieren 191">
            <a:extLst>
              <a:ext uri="{FF2B5EF4-FFF2-40B4-BE49-F238E27FC236}">
                <a16:creationId xmlns:a16="http://schemas.microsoft.com/office/drawing/2014/main" id="{1BA20C28-79F2-9738-9E50-6E0E9750D05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3" name="Gerader Verbinder 192">
              <a:extLst>
                <a:ext uri="{FF2B5EF4-FFF2-40B4-BE49-F238E27FC236}">
                  <a16:creationId xmlns:a16="http://schemas.microsoft.com/office/drawing/2014/main" id="{8D63515B-3B43-AB26-E9E3-89C8659B42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99C20835-E9FB-1935-9D61-D84D83233FF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BA779B9-F1CD-F5A8-F03D-DC78B400A77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7420CD6B-0A6A-D11E-66AF-E051F2E7635C}"/>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D48DE708-1895-C519-B9D6-126F977B7AA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D6967E30-C443-00CF-A7BA-79D0E2C404E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9AE451F8-C42C-4721-59C0-479232D8153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0" name="Gruppieren 199">
            <a:extLst>
              <a:ext uri="{FF2B5EF4-FFF2-40B4-BE49-F238E27FC236}">
                <a16:creationId xmlns:a16="http://schemas.microsoft.com/office/drawing/2014/main" id="{DA2D2EB0-948B-927A-7662-FE166F488140}"/>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1" name="Gerader Verbinder 200">
              <a:extLst>
                <a:ext uri="{FF2B5EF4-FFF2-40B4-BE49-F238E27FC236}">
                  <a16:creationId xmlns:a16="http://schemas.microsoft.com/office/drawing/2014/main" id="{FE70C339-172E-1446-E7A4-86796BD7D2C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C6DEAAA-937C-5CE7-372C-51DF31EFC47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609A464F-0F7E-1105-294A-F88EF6A44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1C4CEF7C-D076-B3CC-4BD9-121DB82AC51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E8E63755-61F0-E89C-5474-F1EB8B96F83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069519D7-EF0B-1C42-8342-B4685D57BA8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80048A09-0E4B-F0BE-508B-4F79BBFC26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213756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25743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7" cy="2880350"/>
          </a:xfrm>
        </p:spPr>
        <p:txBody>
          <a:bodyPr vert="horz">
            <a:noAutofit/>
          </a:bodyPr>
          <a:lstStyle>
            <a:lvl1pPr rtl="0">
              <a:defRPr sz="4000"/>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3933028"/>
            <a:ext cx="3455927"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7" name="Bildplatzhalter 116" descr="Dreispaltiges Layout mit zwei Bildern und drei Textboxen. Links oben ein großer Titel, darunter eine Textbox. In der mittleren und rechten Spalte jeweils ein änderbares Bild, darunter jeweils eine Textbox. Dies ist das mittlere Bild.">
            <a:extLst>
              <a:ext uri="{FF2B5EF4-FFF2-40B4-BE49-F238E27FC236}">
                <a16:creationId xmlns:a16="http://schemas.microsoft.com/office/drawing/2014/main" id="{9D5C2B19-DABE-822C-8F3C-89F9CFD1D62D}"/>
              </a:ext>
            </a:extLst>
          </p:cNvPr>
          <p:cNvSpPr>
            <a:spLocks noGrp="1"/>
          </p:cNvSpPr>
          <p:nvPr>
            <p:ph type="pic" sz="quarter" idx="16"/>
          </p:nvPr>
        </p:nvSpPr>
        <p:spPr bwMode="gray">
          <a:xfrm>
            <a:off x="4511859" y="1362076"/>
            <a:ext cx="3456353" cy="2138988"/>
          </a:xfrm>
          <a:custGeom>
            <a:avLst/>
            <a:gdLst>
              <a:gd name="connsiteX0" fmla="*/ 215995 w 3456353"/>
              <a:gd name="connsiteY0" fmla="*/ 0 h 2138988"/>
              <a:gd name="connsiteX1" fmla="*/ 3240358 w 3456353"/>
              <a:gd name="connsiteY1" fmla="*/ 0 h 2138988"/>
              <a:gd name="connsiteX2" fmla="*/ 3456353 w 3456353"/>
              <a:gd name="connsiteY2" fmla="*/ 215995 h 2138988"/>
              <a:gd name="connsiteX3" fmla="*/ 3456353 w 3456353"/>
              <a:gd name="connsiteY3" fmla="*/ 1922993 h 2138988"/>
              <a:gd name="connsiteX4" fmla="*/ 3240358 w 3456353"/>
              <a:gd name="connsiteY4" fmla="*/ 2138988 h 2138988"/>
              <a:gd name="connsiteX5" fmla="*/ 215995 w 3456353"/>
              <a:gd name="connsiteY5" fmla="*/ 2138988 h 2138988"/>
              <a:gd name="connsiteX6" fmla="*/ 0 w 3456353"/>
              <a:gd name="connsiteY6" fmla="*/ 1922993 h 2138988"/>
              <a:gd name="connsiteX7" fmla="*/ 0 w 3456353"/>
              <a:gd name="connsiteY7" fmla="*/ 215995 h 2138988"/>
              <a:gd name="connsiteX8" fmla="*/ 215995 w 3456353"/>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3" h="2138988">
                <a:moveTo>
                  <a:pt x="215995" y="0"/>
                </a:moveTo>
                <a:lnTo>
                  <a:pt x="3240358" y="0"/>
                </a:lnTo>
                <a:cubicBezTo>
                  <a:pt x="3359649" y="0"/>
                  <a:pt x="3456353" y="96704"/>
                  <a:pt x="3456353" y="215995"/>
                </a:cubicBezTo>
                <a:lnTo>
                  <a:pt x="3456353" y="1922993"/>
                </a:lnTo>
                <a:cubicBezTo>
                  <a:pt x="3456353" y="2042284"/>
                  <a:pt x="3359649" y="2138988"/>
                  <a:pt x="3240358"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1860" y="3933028"/>
            <a:ext cx="345677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8" name="Bildplatzhalter 117" descr="Dies ist das rechte Bild.">
            <a:extLst>
              <a:ext uri="{FF2B5EF4-FFF2-40B4-BE49-F238E27FC236}">
                <a16:creationId xmlns:a16="http://schemas.microsoft.com/office/drawing/2014/main" id="{A91CF5A0-04E0-B185-BDC7-3E99D8F8AB6A}"/>
              </a:ext>
            </a:extLst>
          </p:cNvPr>
          <p:cNvSpPr>
            <a:spLocks noGrp="1"/>
          </p:cNvSpPr>
          <p:nvPr>
            <p:ph type="pic" sz="quarter" idx="17"/>
          </p:nvPr>
        </p:nvSpPr>
        <p:spPr bwMode="gray">
          <a:xfrm>
            <a:off x="8400255" y="1362076"/>
            <a:ext cx="3456781" cy="2138988"/>
          </a:xfrm>
          <a:custGeom>
            <a:avLst/>
            <a:gdLst>
              <a:gd name="connsiteX0" fmla="*/ 215995 w 3456781"/>
              <a:gd name="connsiteY0" fmla="*/ 0 h 2138988"/>
              <a:gd name="connsiteX1" fmla="*/ 3240786 w 3456781"/>
              <a:gd name="connsiteY1" fmla="*/ 0 h 2138988"/>
              <a:gd name="connsiteX2" fmla="*/ 3456781 w 3456781"/>
              <a:gd name="connsiteY2" fmla="*/ 215995 h 2138988"/>
              <a:gd name="connsiteX3" fmla="*/ 3456781 w 3456781"/>
              <a:gd name="connsiteY3" fmla="*/ 1922993 h 2138988"/>
              <a:gd name="connsiteX4" fmla="*/ 3240786 w 3456781"/>
              <a:gd name="connsiteY4" fmla="*/ 2138988 h 2138988"/>
              <a:gd name="connsiteX5" fmla="*/ 215995 w 3456781"/>
              <a:gd name="connsiteY5" fmla="*/ 2138988 h 2138988"/>
              <a:gd name="connsiteX6" fmla="*/ 0 w 3456781"/>
              <a:gd name="connsiteY6" fmla="*/ 1922993 h 2138988"/>
              <a:gd name="connsiteX7" fmla="*/ 0 w 3456781"/>
              <a:gd name="connsiteY7" fmla="*/ 215995 h 2138988"/>
              <a:gd name="connsiteX8" fmla="*/ 215995 w 3456781"/>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781" h="2138988">
                <a:moveTo>
                  <a:pt x="215995" y="0"/>
                </a:moveTo>
                <a:lnTo>
                  <a:pt x="3240786" y="0"/>
                </a:lnTo>
                <a:cubicBezTo>
                  <a:pt x="3360077" y="0"/>
                  <a:pt x="3456781" y="96704"/>
                  <a:pt x="3456781" y="215995"/>
                </a:cubicBezTo>
                <a:lnTo>
                  <a:pt x="3456781" y="1922993"/>
                </a:lnTo>
                <a:cubicBezTo>
                  <a:pt x="3456781" y="2042284"/>
                  <a:pt x="3360077" y="2138988"/>
                  <a:pt x="3240786"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256" y="3933028"/>
            <a:ext cx="345678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AE37D6E0-CB33-67A9-50BE-7308C98FBA21}"/>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64B2C7E9-DB90-68A2-6932-6B65EF8801E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39AB7D2-9D21-C89D-9DC5-AD442C26D73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5E095254-7DB8-B32E-6FAB-1F4F656A4ED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248EF858-4C0E-A705-4453-A433ABF81D1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666B404F-95C8-B077-3AB8-06EA3F5D029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48A5C6D-E38D-D5FB-814C-2D6E086F482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08B4C178-F535-C4C2-04B7-C9F78FED80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D327A1F8-1AE0-83D5-5569-9F22A6B122E8}"/>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25173145-014F-B2BB-D4E7-FF72C2AC8BB0}"/>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92B88E33-C9FD-0D1B-283A-E32F0A89386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E382BA12-42DB-C8B4-6497-C599AEDEC461}"/>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4B219BC5-78FC-DE84-3B02-5D756B8731E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60354FD-0B89-AFBB-1723-F9409138BAD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912A9A16-9510-4314-1982-3B4F6D3198C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F3B22BC5-BAB1-30F5-E4A4-024AD8B9607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66410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032342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3456347" cy="2880351"/>
          </a:xfrm>
        </p:spPr>
        <p:txBody>
          <a:bodyPr vert="horz">
            <a:noAutofit/>
          </a:bodyPr>
          <a:lstStyle>
            <a:lvl1pPr rtl="0">
              <a:defRPr sz="4000"/>
            </a:lvl1pPr>
          </a:lstStyle>
          <a:p>
            <a:r>
              <a:rPr lang="de-DE"/>
              <a:t>Mastertitelformat bearbeiten</a:t>
            </a:r>
          </a:p>
        </p:txBody>
      </p:sp>
      <p:sp>
        <p:nvSpPr>
          <p:cNvPr id="116" name="Bildplatzhalter 115" descr="Dreispaltiges Layout mit zwei Bildern und einer Textbox. Links oben ein großer Titel. In der mittleren Spalte ein großes änderbares Bild. In der rechten Spalte ein kleineres änderbares Bild, darunter eine Textbox. Dies ist das mittlere Bild.">
            <a:extLst>
              <a:ext uri="{FF2B5EF4-FFF2-40B4-BE49-F238E27FC236}">
                <a16:creationId xmlns:a16="http://schemas.microsoft.com/office/drawing/2014/main" id="{FEFFA24E-B115-921F-79AC-EED42D946BB8}"/>
              </a:ext>
            </a:extLst>
          </p:cNvPr>
          <p:cNvSpPr>
            <a:spLocks noGrp="1"/>
          </p:cNvSpPr>
          <p:nvPr>
            <p:ph type="pic" sz="quarter" idx="16"/>
          </p:nvPr>
        </p:nvSpPr>
        <p:spPr bwMode="gray">
          <a:xfrm>
            <a:off x="4511860" y="1362076"/>
            <a:ext cx="3456351" cy="4730750"/>
          </a:xfrm>
          <a:custGeom>
            <a:avLst/>
            <a:gdLst>
              <a:gd name="connsiteX0" fmla="*/ 215987 w 3456351"/>
              <a:gd name="connsiteY0" fmla="*/ 0 h 4730750"/>
              <a:gd name="connsiteX1" fmla="*/ 3240364 w 3456351"/>
              <a:gd name="connsiteY1" fmla="*/ 0 h 4730750"/>
              <a:gd name="connsiteX2" fmla="*/ 3456351 w 3456351"/>
              <a:gd name="connsiteY2" fmla="*/ 215987 h 4730750"/>
              <a:gd name="connsiteX3" fmla="*/ 3456351 w 3456351"/>
              <a:gd name="connsiteY3" fmla="*/ 4514763 h 4730750"/>
              <a:gd name="connsiteX4" fmla="*/ 3240364 w 3456351"/>
              <a:gd name="connsiteY4" fmla="*/ 4730750 h 4730750"/>
              <a:gd name="connsiteX5" fmla="*/ 215987 w 3456351"/>
              <a:gd name="connsiteY5" fmla="*/ 4730750 h 4730750"/>
              <a:gd name="connsiteX6" fmla="*/ 0 w 3456351"/>
              <a:gd name="connsiteY6" fmla="*/ 4514763 h 4730750"/>
              <a:gd name="connsiteX7" fmla="*/ 0 w 3456351"/>
              <a:gd name="connsiteY7" fmla="*/ 215987 h 4730750"/>
              <a:gd name="connsiteX8" fmla="*/ 215987 w 3456351"/>
              <a:gd name="connsiteY8" fmla="*/ 0 h 473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1" h="4730750">
                <a:moveTo>
                  <a:pt x="215987" y="0"/>
                </a:moveTo>
                <a:lnTo>
                  <a:pt x="3240364" y="0"/>
                </a:lnTo>
                <a:cubicBezTo>
                  <a:pt x="3359650" y="0"/>
                  <a:pt x="3456351" y="96701"/>
                  <a:pt x="3456351" y="215987"/>
                </a:cubicBezTo>
                <a:lnTo>
                  <a:pt x="3456351" y="4514763"/>
                </a:lnTo>
                <a:cubicBezTo>
                  <a:pt x="3456351" y="4634049"/>
                  <a:pt x="3359650" y="4730750"/>
                  <a:pt x="3240364" y="4730750"/>
                </a:cubicBezTo>
                <a:lnTo>
                  <a:pt x="215987" y="4730750"/>
                </a:lnTo>
                <a:cubicBezTo>
                  <a:pt x="96701" y="4730750"/>
                  <a:pt x="0" y="4634049"/>
                  <a:pt x="0" y="4514763"/>
                </a:cubicBezTo>
                <a:lnTo>
                  <a:pt x="0" y="215987"/>
                </a:lnTo>
                <a:cubicBezTo>
                  <a:pt x="0" y="96701"/>
                  <a:pt x="96701" y="0"/>
                  <a:pt x="215987"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15" name="Bildplatzhalter 114" descr="Dies ist das rechte Bild.">
            <a:extLst>
              <a:ext uri="{FF2B5EF4-FFF2-40B4-BE49-F238E27FC236}">
                <a16:creationId xmlns:a16="http://schemas.microsoft.com/office/drawing/2014/main" id="{BD88A33B-654C-6BAD-94F3-ABC9AE59D19F}"/>
              </a:ext>
            </a:extLst>
          </p:cNvPr>
          <p:cNvSpPr>
            <a:spLocks noGrp="1"/>
          </p:cNvSpPr>
          <p:nvPr>
            <p:ph type="pic" sz="quarter" idx="17"/>
          </p:nvPr>
        </p:nvSpPr>
        <p:spPr bwMode="gray">
          <a:xfrm>
            <a:off x="8400679" y="1362076"/>
            <a:ext cx="3456357" cy="2138988"/>
          </a:xfrm>
          <a:custGeom>
            <a:avLst/>
            <a:gdLst>
              <a:gd name="connsiteX0" fmla="*/ 215995 w 3456357"/>
              <a:gd name="connsiteY0" fmla="*/ 0 h 2138988"/>
              <a:gd name="connsiteX1" fmla="*/ 3240362 w 3456357"/>
              <a:gd name="connsiteY1" fmla="*/ 0 h 2138988"/>
              <a:gd name="connsiteX2" fmla="*/ 3456357 w 3456357"/>
              <a:gd name="connsiteY2" fmla="*/ 215995 h 2138988"/>
              <a:gd name="connsiteX3" fmla="*/ 3456357 w 3456357"/>
              <a:gd name="connsiteY3" fmla="*/ 1922993 h 2138988"/>
              <a:gd name="connsiteX4" fmla="*/ 3240362 w 3456357"/>
              <a:gd name="connsiteY4" fmla="*/ 2138988 h 2138988"/>
              <a:gd name="connsiteX5" fmla="*/ 215995 w 3456357"/>
              <a:gd name="connsiteY5" fmla="*/ 2138988 h 2138988"/>
              <a:gd name="connsiteX6" fmla="*/ 0 w 3456357"/>
              <a:gd name="connsiteY6" fmla="*/ 1922993 h 2138988"/>
              <a:gd name="connsiteX7" fmla="*/ 0 w 3456357"/>
              <a:gd name="connsiteY7" fmla="*/ 215995 h 2138988"/>
              <a:gd name="connsiteX8" fmla="*/ 215995 w 3456357"/>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7" h="2138988">
                <a:moveTo>
                  <a:pt x="215995" y="0"/>
                </a:moveTo>
                <a:lnTo>
                  <a:pt x="3240362" y="0"/>
                </a:lnTo>
                <a:cubicBezTo>
                  <a:pt x="3359653" y="0"/>
                  <a:pt x="3456357" y="96704"/>
                  <a:pt x="3456357" y="215995"/>
                </a:cubicBezTo>
                <a:lnTo>
                  <a:pt x="3456357" y="1922993"/>
                </a:lnTo>
                <a:cubicBezTo>
                  <a:pt x="3456357" y="2042284"/>
                  <a:pt x="3359653" y="2138988"/>
                  <a:pt x="3240362"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257" y="3933028"/>
            <a:ext cx="3456780" cy="2159798"/>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489D6F4E-3D3F-73BA-7F58-E72CE133B300}"/>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514B6F31-3983-B3CE-843C-A9F4E3C33933}"/>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88FC63F3-EE15-A067-3A08-32DFA67543A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CB19517A-C964-5D5D-B0B2-785A9C4B7E5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D967DFA-4C9E-06D9-08E1-76C69BFFA6F5}"/>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6AA835-CA65-DF6B-E8A3-074126C11E2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EB54851-2DE0-8BFD-30EF-CD0400059DC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9EAECAE7-9FD8-F8D1-8A6B-DC47A44CDAA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CC938821-6834-4061-1ABF-6F6348DF4403}"/>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626DB4AC-C497-2018-E1D0-B15DFC71C88E}"/>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FEFABE42-4274-B7B1-2908-6C01C1A4743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07923EB1-16D4-8092-D93E-64364672A83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7EE55FA5-9516-18AF-E196-2A0A78530CA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B1BA0DA9-8D4A-9E5A-28AC-C934CF36506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143699DA-CA7D-16B8-3933-B86A0CAC0C6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5CD47C8A-68F6-41F2-F45B-3E683A45B7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061906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 Bilder mit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08057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8" cy="1798764"/>
          </a:xfrm>
        </p:spPr>
        <p:txBody>
          <a:bodyPr vert="horz">
            <a:noAutofit/>
          </a:bodyPr>
          <a:lstStyle>
            <a:lvl1pPr rtl="0">
              <a:defRPr sz="4000"/>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2853134"/>
            <a:ext cx="3456347" cy="3239692"/>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115" name="Bildplatzhalter 114" descr="Zweigeteiltes Layout mit zwei Bildern und einer Textbox. Links oben ein großer Titel, darunter eine Textbox. Rechts ein großes änderbares Bild. Links davon überlappt ein kleines änderbares Bild das große Bild. Dies ist das große Bild rechts.">
            <a:extLst>
              <a:ext uri="{FF2B5EF4-FFF2-40B4-BE49-F238E27FC236}">
                <a16:creationId xmlns:a16="http://schemas.microsoft.com/office/drawing/2014/main" id="{7CF65C7C-431B-1AF4-03E9-78BEFCD80B09}"/>
              </a:ext>
            </a:extLst>
          </p:cNvPr>
          <p:cNvSpPr>
            <a:spLocks noGrp="1"/>
          </p:cNvSpPr>
          <p:nvPr>
            <p:ph type="pic" sz="quarter" idx="17"/>
          </p:nvPr>
        </p:nvSpPr>
        <p:spPr bwMode="gray">
          <a:xfrm>
            <a:off x="6888526" y="1362075"/>
            <a:ext cx="5303471" cy="4730751"/>
          </a:xfrm>
          <a:custGeom>
            <a:avLst/>
            <a:gdLst>
              <a:gd name="connsiteX0" fmla="*/ 4389071 w 5303471"/>
              <a:gd name="connsiteY0" fmla="*/ 0 h 4730751"/>
              <a:gd name="connsiteX1" fmla="*/ 5303471 w 5303471"/>
              <a:gd name="connsiteY1" fmla="*/ 0 h 4730751"/>
              <a:gd name="connsiteX2" fmla="*/ 5303471 w 5303471"/>
              <a:gd name="connsiteY2" fmla="*/ 216007 h 4730751"/>
              <a:gd name="connsiteX3" fmla="*/ 5303471 w 5303471"/>
              <a:gd name="connsiteY3" fmla="*/ 4514745 h 4730751"/>
              <a:gd name="connsiteX4" fmla="*/ 5303471 w 5303471"/>
              <a:gd name="connsiteY4" fmla="*/ 4730733 h 4730751"/>
              <a:gd name="connsiteX5" fmla="*/ 5087643 w 5303471"/>
              <a:gd name="connsiteY5" fmla="*/ 4730733 h 4730751"/>
              <a:gd name="connsiteX6" fmla="*/ 5087465 w 5303471"/>
              <a:gd name="connsiteY6" fmla="*/ 4730751 h 4730751"/>
              <a:gd name="connsiteX7" fmla="*/ 216006 w 5303471"/>
              <a:gd name="connsiteY7" fmla="*/ 4730751 h 4730751"/>
              <a:gd name="connsiteX8" fmla="*/ 0 w 5303471"/>
              <a:gd name="connsiteY8" fmla="*/ 4514745 h 4730751"/>
              <a:gd name="connsiteX9" fmla="*/ 0 w 5303471"/>
              <a:gd name="connsiteY9" fmla="*/ 216007 h 4730751"/>
              <a:gd name="connsiteX10" fmla="*/ 216006 w 5303471"/>
              <a:gd name="connsiteY10" fmla="*/ 1 h 4730751"/>
              <a:gd name="connsiteX11" fmla="*/ 4389071 w 5303471"/>
              <a:gd name="connsiteY11" fmla="*/ 1 h 473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03471" h="4730751">
                <a:moveTo>
                  <a:pt x="4389071" y="0"/>
                </a:moveTo>
                <a:lnTo>
                  <a:pt x="5303471" y="0"/>
                </a:lnTo>
                <a:lnTo>
                  <a:pt x="5303471" y="216007"/>
                </a:lnTo>
                <a:lnTo>
                  <a:pt x="5303471" y="4514745"/>
                </a:lnTo>
                <a:lnTo>
                  <a:pt x="5303471" y="4730733"/>
                </a:lnTo>
                <a:lnTo>
                  <a:pt x="5087643" y="4730733"/>
                </a:lnTo>
                <a:lnTo>
                  <a:pt x="5087465" y="4730751"/>
                </a:lnTo>
                <a:lnTo>
                  <a:pt x="216006" y="4730751"/>
                </a:lnTo>
                <a:cubicBezTo>
                  <a:pt x="96709" y="4730751"/>
                  <a:pt x="0" y="4634042"/>
                  <a:pt x="0" y="4514745"/>
                </a:cubicBezTo>
                <a:lnTo>
                  <a:pt x="0" y="216007"/>
                </a:lnTo>
                <a:cubicBezTo>
                  <a:pt x="0" y="96710"/>
                  <a:pt x="96709" y="1"/>
                  <a:pt x="216006" y="1"/>
                </a:cubicBezTo>
                <a:lnTo>
                  <a:pt x="4389071" y="1"/>
                </a:ln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5" name="Bildplatzhalter 14" descr="Dies ist das kleine Bild.">
            <a:extLst>
              <a:ext uri="{FF2B5EF4-FFF2-40B4-BE49-F238E27FC236}">
                <a16:creationId xmlns:a16="http://schemas.microsoft.com/office/drawing/2014/main" id="{17442453-1754-875C-3B79-1656AB8E5A7E}"/>
              </a:ext>
            </a:extLst>
          </p:cNvPr>
          <p:cNvSpPr>
            <a:spLocks noGrp="1"/>
          </p:cNvSpPr>
          <p:nvPr>
            <p:ph type="pic" sz="quarter" idx="16"/>
          </p:nvPr>
        </p:nvSpPr>
        <p:spPr bwMode="gray">
          <a:xfrm>
            <a:off x="4727882" y="2853133"/>
            <a:ext cx="2808286" cy="2591741"/>
          </a:xfrm>
          <a:prstGeom prst="roundRect">
            <a:avLst>
              <a:gd name="adj" fmla="val 8334"/>
            </a:avLst>
          </a:pr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3" name="Gruppieren 192">
            <a:extLst>
              <a:ext uri="{FF2B5EF4-FFF2-40B4-BE49-F238E27FC236}">
                <a16:creationId xmlns:a16="http://schemas.microsoft.com/office/drawing/2014/main" id="{CFC190BE-C025-07E9-8F3B-A5C0823667E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4" name="Gerader Verbinder 193">
              <a:extLst>
                <a:ext uri="{FF2B5EF4-FFF2-40B4-BE49-F238E27FC236}">
                  <a16:creationId xmlns:a16="http://schemas.microsoft.com/office/drawing/2014/main" id="{39E7FD98-1F5F-9389-6D98-E23881BC4C8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A8187C5-E9DF-116E-2082-4962145F9CA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512C6319-7407-AA3F-B542-E65722D7EF2C}"/>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A28FABA8-2A59-455E-3E44-ED7B9778BB4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F7E6EC70-FB20-ED3B-9089-BAFCFFDD078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A45894CC-ECCA-00A6-5B51-D42A72E19B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CF4F44B9-D646-2936-DF99-DE360CBB80C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1" name="Gruppieren 200">
            <a:extLst>
              <a:ext uri="{FF2B5EF4-FFF2-40B4-BE49-F238E27FC236}">
                <a16:creationId xmlns:a16="http://schemas.microsoft.com/office/drawing/2014/main" id="{147157ED-F86B-4A76-DF44-6078377EAF4E}"/>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2" name="Gerader Verbinder 201">
              <a:extLst>
                <a:ext uri="{FF2B5EF4-FFF2-40B4-BE49-F238E27FC236}">
                  <a16:creationId xmlns:a16="http://schemas.microsoft.com/office/drawing/2014/main" id="{679A183C-CD11-4367-E24A-7CD26B3E633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260391BA-A2AF-7831-C79D-CF37A3BF83D9}"/>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A48559C3-A3ED-0148-D4AA-1BC9BEDC54C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2F86103-863F-DEF0-775E-8A94EAA8326F}"/>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B5AB6C27-248A-8110-7E6F-E1914FC7BD9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A8E0EB02-0F3F-19C4-A9B1-97E06CA2D83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99A84C1C-967E-59B8-566D-8090ECFC1C4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61905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und Aufzählu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54646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p>
        </p:txBody>
      </p:sp>
      <p:sp>
        <p:nvSpPr>
          <p:cNvPr id="112" name="Bildplatzhalter 111" descr="Zweigeteiltes Layout mit einem Bild links und einer Textbox rechts daneben. Das Bild ist änderbar.">
            <a:extLst>
              <a:ext uri="{FF2B5EF4-FFF2-40B4-BE49-F238E27FC236}">
                <a16:creationId xmlns:a16="http://schemas.microsoft.com/office/drawing/2014/main" id="{A07BD216-7CD4-49F3-6495-F6DEE6A0DB8A}"/>
              </a:ext>
            </a:extLst>
          </p:cNvPr>
          <p:cNvSpPr>
            <a:spLocks noGrp="1"/>
          </p:cNvSpPr>
          <p:nvPr>
            <p:ph type="pic" sz="quarter" idx="14"/>
          </p:nvPr>
        </p:nvSpPr>
        <p:spPr bwMode="gray">
          <a:xfrm>
            <a:off x="623888" y="1773240"/>
            <a:ext cx="7344743" cy="4319586"/>
          </a:xfrm>
          <a:custGeom>
            <a:avLst/>
            <a:gdLst>
              <a:gd name="connsiteX0" fmla="*/ 0 w 7344743"/>
              <a:gd name="connsiteY0" fmla="*/ 0 h 4319586"/>
              <a:gd name="connsiteX1" fmla="*/ 215979 w 7344743"/>
              <a:gd name="connsiteY1" fmla="*/ 0 h 4319586"/>
              <a:gd name="connsiteX2" fmla="*/ 914400 w 7344743"/>
              <a:gd name="connsiteY2" fmla="*/ 0 h 4319586"/>
              <a:gd name="connsiteX3" fmla="*/ 7128764 w 7344743"/>
              <a:gd name="connsiteY3" fmla="*/ 0 h 4319586"/>
              <a:gd name="connsiteX4" fmla="*/ 7344743 w 7344743"/>
              <a:gd name="connsiteY4" fmla="*/ 215979 h 4319586"/>
              <a:gd name="connsiteX5" fmla="*/ 7344743 w 7344743"/>
              <a:gd name="connsiteY5" fmla="*/ 3405186 h 4319586"/>
              <a:gd name="connsiteX6" fmla="*/ 7344743 w 7344743"/>
              <a:gd name="connsiteY6" fmla="*/ 4103607 h 4319586"/>
              <a:gd name="connsiteX7" fmla="*/ 7344743 w 7344743"/>
              <a:gd name="connsiteY7" fmla="*/ 4319586 h 4319586"/>
              <a:gd name="connsiteX8" fmla="*/ 7128764 w 7344743"/>
              <a:gd name="connsiteY8" fmla="*/ 4319586 h 4319586"/>
              <a:gd name="connsiteX9" fmla="*/ 6430343 w 7344743"/>
              <a:gd name="connsiteY9" fmla="*/ 4319586 h 4319586"/>
              <a:gd name="connsiteX10" fmla="*/ 215979 w 7344743"/>
              <a:gd name="connsiteY10" fmla="*/ 4319586 h 4319586"/>
              <a:gd name="connsiteX11" fmla="*/ 0 w 7344743"/>
              <a:gd name="connsiteY11" fmla="*/ 4103607 h 4319586"/>
              <a:gd name="connsiteX12" fmla="*/ 0 w 7344743"/>
              <a:gd name="connsiteY12" fmla="*/ 914400 h 4319586"/>
              <a:gd name="connsiteX13" fmla="*/ 0 w 7344743"/>
              <a:gd name="connsiteY13" fmla="*/ 215979 h 431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44743" h="4319586">
                <a:moveTo>
                  <a:pt x="0" y="0"/>
                </a:moveTo>
                <a:lnTo>
                  <a:pt x="215979" y="0"/>
                </a:lnTo>
                <a:lnTo>
                  <a:pt x="914400" y="0"/>
                </a:lnTo>
                <a:lnTo>
                  <a:pt x="7128764" y="0"/>
                </a:lnTo>
                <a:cubicBezTo>
                  <a:pt x="7248046" y="0"/>
                  <a:pt x="7344743" y="96697"/>
                  <a:pt x="7344743" y="215979"/>
                </a:cubicBezTo>
                <a:lnTo>
                  <a:pt x="7344743" y="3405186"/>
                </a:lnTo>
                <a:lnTo>
                  <a:pt x="7344743" y="4103607"/>
                </a:lnTo>
                <a:lnTo>
                  <a:pt x="7344743" y="4319586"/>
                </a:lnTo>
                <a:lnTo>
                  <a:pt x="7128764" y="4319586"/>
                </a:lnTo>
                <a:lnTo>
                  <a:pt x="6430343" y="4319586"/>
                </a:lnTo>
                <a:lnTo>
                  <a:pt x="215979" y="4319586"/>
                </a:lnTo>
                <a:cubicBezTo>
                  <a:pt x="96697" y="4319586"/>
                  <a:pt x="0" y="4222889"/>
                  <a:pt x="0" y="4103607"/>
                </a:cubicBezTo>
                <a:lnTo>
                  <a:pt x="0" y="914400"/>
                </a:lnTo>
                <a:lnTo>
                  <a:pt x="0" y="21597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675" y="1773239"/>
            <a:ext cx="3456361" cy="4319582"/>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3" name="Fußzeilenplatzhalter 112">
            <a:extLst>
              <a:ext uri="{FF2B5EF4-FFF2-40B4-BE49-F238E27FC236}">
                <a16:creationId xmlns:a16="http://schemas.microsoft.com/office/drawing/2014/main" id="{B3554CE7-D079-62C5-F0BB-8AC8D0B72B58}"/>
              </a:ext>
            </a:extLst>
          </p:cNvPr>
          <p:cNvSpPr>
            <a:spLocks noGrp="1"/>
          </p:cNvSpPr>
          <p:nvPr>
            <p:ph type="ftr" sz="quarter" idx="15"/>
          </p:nvPr>
        </p:nvSpPr>
        <p:spPr/>
        <p:txBody>
          <a:bodyPr/>
          <a:lstStyle/>
          <a:p>
            <a:r>
              <a:rPr lang="en-US"/>
              <a:t>© msg systems ag | 2025 | msg Company Presentation</a:t>
            </a:r>
            <a:endParaRPr lang="de-DE"/>
          </a:p>
        </p:txBody>
      </p:sp>
      <p:sp>
        <p:nvSpPr>
          <p:cNvPr id="114" name="Foliennummernplatzhalter 113">
            <a:extLst>
              <a:ext uri="{FF2B5EF4-FFF2-40B4-BE49-F238E27FC236}">
                <a16:creationId xmlns:a16="http://schemas.microsoft.com/office/drawing/2014/main" id="{2CAB392D-6C48-3132-7A9C-6201CDE708AD}"/>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3" name="Gruppieren 122">
            <a:extLst>
              <a:ext uri="{FF2B5EF4-FFF2-40B4-BE49-F238E27FC236}">
                <a16:creationId xmlns:a16="http://schemas.microsoft.com/office/drawing/2014/main" id="{62EA6990-D6CC-3EC8-2D35-74606677D161}"/>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24" name="Gerader Verbinder 123">
              <a:extLst>
                <a:ext uri="{FF2B5EF4-FFF2-40B4-BE49-F238E27FC236}">
                  <a16:creationId xmlns:a16="http://schemas.microsoft.com/office/drawing/2014/main" id="{C93D21CF-E90A-A46B-4CA6-95F10B16CC4B}"/>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20B2FDF5-A78D-BCFE-32D1-1307C61A9CD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79DF1EC5-73F1-8C56-3697-679573889965}"/>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9BE78E2E-E9BF-379A-09C5-9E5CF527A34B}"/>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8" name="Gerader Verbinder 127">
              <a:extLst>
                <a:ext uri="{FF2B5EF4-FFF2-40B4-BE49-F238E27FC236}">
                  <a16:creationId xmlns:a16="http://schemas.microsoft.com/office/drawing/2014/main" id="{62EDBECE-29A3-D399-3AAF-921E886D418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9" name="Gerader Verbinder 128">
              <a:extLst>
                <a:ext uri="{FF2B5EF4-FFF2-40B4-BE49-F238E27FC236}">
                  <a16:creationId xmlns:a16="http://schemas.microsoft.com/office/drawing/2014/main" id="{F7354BD8-357A-4B52-21AC-4147BF0000B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E5DB696-88E1-DE1C-B7F0-7289B10829A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196316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osaik">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81761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p>
        </p:txBody>
      </p:sp>
      <p:sp>
        <p:nvSpPr>
          <p:cNvPr id="48" name="Bildplatzhalter 47" descr="6 Bilder als Kacheln angeordnet. Links 4 kleine Bilder, davon 2 oben, 2 unten. Rechts zwei größere Bilder nebeneinander, doppelt so hoch wie die kleinen Bilder links. Dies ist das erste kleine Bild in der oberen Reihe.">
            <a:extLst>
              <a:ext uri="{FF2B5EF4-FFF2-40B4-BE49-F238E27FC236}">
                <a16:creationId xmlns:a16="http://schemas.microsoft.com/office/drawing/2014/main" id="{A9429A64-91BA-CAB5-60A6-0D7B218748A9}"/>
              </a:ext>
            </a:extLst>
          </p:cNvPr>
          <p:cNvSpPr>
            <a:spLocks noGrp="1"/>
          </p:cNvSpPr>
          <p:nvPr>
            <p:ph type="pic" sz="quarter" idx="13"/>
          </p:nvPr>
        </p:nvSpPr>
        <p:spPr bwMode="gray">
          <a:xfrm>
            <a:off x="623888" y="1773240"/>
            <a:ext cx="2808287" cy="2178049"/>
          </a:xfrm>
          <a:custGeom>
            <a:avLst/>
            <a:gdLst>
              <a:gd name="connsiteX0" fmla="*/ 215670 w 2808287"/>
              <a:gd name="connsiteY0" fmla="*/ 0 h 2178049"/>
              <a:gd name="connsiteX1" fmla="*/ 2092007 w 2808287"/>
              <a:gd name="connsiteY1" fmla="*/ 0 h 2178049"/>
              <a:gd name="connsiteX2" fmla="*/ 2592617 w 2808287"/>
              <a:gd name="connsiteY2" fmla="*/ 0 h 2178049"/>
              <a:gd name="connsiteX3" fmla="*/ 2808287 w 2808287"/>
              <a:gd name="connsiteY3" fmla="*/ 0 h 2178049"/>
              <a:gd name="connsiteX4" fmla="*/ 2808287 w 2808287"/>
              <a:gd name="connsiteY4" fmla="*/ 215670 h 2178049"/>
              <a:gd name="connsiteX5" fmla="*/ 2808287 w 2808287"/>
              <a:gd name="connsiteY5" fmla="*/ 1962379 h 2178049"/>
              <a:gd name="connsiteX6" fmla="*/ 2808287 w 2808287"/>
              <a:gd name="connsiteY6" fmla="*/ 2178049 h 2178049"/>
              <a:gd name="connsiteX7" fmla="*/ 2592617 w 2808287"/>
              <a:gd name="connsiteY7" fmla="*/ 2178049 h 2178049"/>
              <a:gd name="connsiteX8" fmla="*/ 2432539 w 2808287"/>
              <a:gd name="connsiteY8" fmla="*/ 2178049 h 2178049"/>
              <a:gd name="connsiteX9" fmla="*/ 2092007 w 2808287"/>
              <a:gd name="connsiteY9" fmla="*/ 2178049 h 2178049"/>
              <a:gd name="connsiteX10" fmla="*/ 215670 w 2808287"/>
              <a:gd name="connsiteY10" fmla="*/ 2178049 h 2178049"/>
              <a:gd name="connsiteX11" fmla="*/ 0 w 2808287"/>
              <a:gd name="connsiteY11" fmla="*/ 2178049 h 2178049"/>
              <a:gd name="connsiteX12" fmla="*/ 0 w 2808287"/>
              <a:gd name="connsiteY12" fmla="*/ 1962379 h 2178049"/>
              <a:gd name="connsiteX13" fmla="*/ 0 w 2808287"/>
              <a:gd name="connsiteY13" fmla="*/ 1251900 h 2178049"/>
              <a:gd name="connsiteX14" fmla="*/ 0 w 2808287"/>
              <a:gd name="connsiteY14" fmla="*/ 215670 h 2178049"/>
              <a:gd name="connsiteX15" fmla="*/ 215670 w 2808287"/>
              <a:gd name="connsiteY15" fmla="*/ 0 h 217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08287" h="2178049">
                <a:moveTo>
                  <a:pt x="215670" y="0"/>
                </a:moveTo>
                <a:lnTo>
                  <a:pt x="2092007" y="0"/>
                </a:lnTo>
                <a:lnTo>
                  <a:pt x="2592617" y="0"/>
                </a:lnTo>
                <a:lnTo>
                  <a:pt x="2808287" y="0"/>
                </a:lnTo>
                <a:lnTo>
                  <a:pt x="2808287" y="215670"/>
                </a:lnTo>
                <a:lnTo>
                  <a:pt x="2808287" y="1962379"/>
                </a:lnTo>
                <a:lnTo>
                  <a:pt x="2808287" y="2178049"/>
                </a:lnTo>
                <a:lnTo>
                  <a:pt x="2592617" y="2178049"/>
                </a:lnTo>
                <a:lnTo>
                  <a:pt x="2432539" y="2178049"/>
                </a:lnTo>
                <a:lnTo>
                  <a:pt x="2092007" y="2178049"/>
                </a:lnTo>
                <a:lnTo>
                  <a:pt x="215670" y="2178049"/>
                </a:lnTo>
                <a:lnTo>
                  <a:pt x="0" y="2178049"/>
                </a:lnTo>
                <a:lnTo>
                  <a:pt x="0" y="1962379"/>
                </a:lnTo>
                <a:lnTo>
                  <a:pt x="0" y="1251900"/>
                </a:lnTo>
                <a:lnTo>
                  <a:pt x="0" y="215670"/>
                </a:lnTo>
                <a:cubicBezTo>
                  <a:pt x="0" y="96559"/>
                  <a:pt x="96559" y="0"/>
                  <a:pt x="215670" y="0"/>
                </a:cubicBez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7" name="Bildplatzhalter 6" descr="Dies ist das zweite kleine Bild in der oberen Reihe.">
            <a:extLst>
              <a:ext uri="{FF2B5EF4-FFF2-40B4-BE49-F238E27FC236}">
                <a16:creationId xmlns:a16="http://schemas.microsoft.com/office/drawing/2014/main" id="{CBD19825-FD24-6B55-51AC-DAFE83A5E355}"/>
              </a:ext>
            </a:extLst>
          </p:cNvPr>
          <p:cNvSpPr>
            <a:spLocks noGrp="1"/>
          </p:cNvSpPr>
          <p:nvPr>
            <p:ph type="pic" sz="quarter" idx="14"/>
          </p:nvPr>
        </p:nvSpPr>
        <p:spPr>
          <a:xfrm>
            <a:off x="3432175" y="1773240"/>
            <a:ext cx="2808287" cy="2178049"/>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3" name="Bildplatzhalter 12" descr="Dies ist das erste kleine Bild in der unteren Reihe.">
            <a:extLst>
              <a:ext uri="{FF2B5EF4-FFF2-40B4-BE49-F238E27FC236}">
                <a16:creationId xmlns:a16="http://schemas.microsoft.com/office/drawing/2014/main" id="{ADD8A2E5-62D0-169D-337B-FDC9EDB2D407}"/>
              </a:ext>
            </a:extLst>
          </p:cNvPr>
          <p:cNvSpPr>
            <a:spLocks noGrp="1"/>
          </p:cNvSpPr>
          <p:nvPr>
            <p:ph type="pic" sz="quarter" idx="15"/>
          </p:nvPr>
        </p:nvSpPr>
        <p:spPr>
          <a:xfrm>
            <a:off x="623888"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38" name="Bildplatzhalter 37" descr="Dies ist das zweite kleine Bild in der unteren Reihe.">
            <a:extLst>
              <a:ext uri="{FF2B5EF4-FFF2-40B4-BE49-F238E27FC236}">
                <a16:creationId xmlns:a16="http://schemas.microsoft.com/office/drawing/2014/main" id="{53BBAF39-77A8-8850-AE43-CC114EB4E3C2}"/>
              </a:ext>
            </a:extLst>
          </p:cNvPr>
          <p:cNvSpPr>
            <a:spLocks noGrp="1"/>
          </p:cNvSpPr>
          <p:nvPr>
            <p:ph type="pic" sz="quarter" idx="16"/>
          </p:nvPr>
        </p:nvSpPr>
        <p:spPr>
          <a:xfrm>
            <a:off x="3432175"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40" name="Bildplatzhalter 39" descr="Dies ist das linke große Bild.">
            <a:extLst>
              <a:ext uri="{FF2B5EF4-FFF2-40B4-BE49-F238E27FC236}">
                <a16:creationId xmlns:a16="http://schemas.microsoft.com/office/drawing/2014/main" id="{B8F750F2-C9DC-F957-C4B9-615EA73942A5}"/>
              </a:ext>
            </a:extLst>
          </p:cNvPr>
          <p:cNvSpPr>
            <a:spLocks noGrp="1"/>
          </p:cNvSpPr>
          <p:nvPr>
            <p:ph type="pic" sz="quarter" idx="17"/>
          </p:nvPr>
        </p:nvSpPr>
        <p:spPr>
          <a:xfrm>
            <a:off x="6240462" y="1773240"/>
            <a:ext cx="2808287" cy="4319584"/>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53" name="Bildplatzhalter 52" descr="Dies ist das rechte große Bild.">
            <a:extLst>
              <a:ext uri="{FF2B5EF4-FFF2-40B4-BE49-F238E27FC236}">
                <a16:creationId xmlns:a16="http://schemas.microsoft.com/office/drawing/2014/main" id="{635A3CB3-034D-498F-C8EA-BEBFE1AC01A3}"/>
              </a:ext>
            </a:extLst>
          </p:cNvPr>
          <p:cNvSpPr>
            <a:spLocks noGrp="1"/>
          </p:cNvSpPr>
          <p:nvPr>
            <p:ph type="pic" sz="quarter" idx="18"/>
          </p:nvPr>
        </p:nvSpPr>
        <p:spPr bwMode="gray">
          <a:xfrm>
            <a:off x="9048750" y="1773240"/>
            <a:ext cx="2808287" cy="4319584"/>
          </a:xfrm>
          <a:custGeom>
            <a:avLst/>
            <a:gdLst>
              <a:gd name="connsiteX0" fmla="*/ 0 w 2808287"/>
              <a:gd name="connsiteY0" fmla="*/ 0 h 4356098"/>
              <a:gd name="connsiteX1" fmla="*/ 215676 w 2808287"/>
              <a:gd name="connsiteY1" fmla="*/ 0 h 4356098"/>
              <a:gd name="connsiteX2" fmla="*/ 2592611 w 2808287"/>
              <a:gd name="connsiteY2" fmla="*/ 0 h 4356098"/>
              <a:gd name="connsiteX3" fmla="*/ 2808287 w 2808287"/>
              <a:gd name="connsiteY3" fmla="*/ 0 h 4356098"/>
              <a:gd name="connsiteX4" fmla="*/ 2808287 w 2808287"/>
              <a:gd name="connsiteY4" fmla="*/ 215676 h 4356098"/>
              <a:gd name="connsiteX5" fmla="*/ 2808287 w 2808287"/>
              <a:gd name="connsiteY5" fmla="*/ 1140506 h 4356098"/>
              <a:gd name="connsiteX6" fmla="*/ 2808287 w 2808287"/>
              <a:gd name="connsiteY6" fmla="*/ 4140422 h 4356098"/>
              <a:gd name="connsiteX7" fmla="*/ 2592611 w 2808287"/>
              <a:gd name="connsiteY7" fmla="*/ 4356098 h 4356098"/>
              <a:gd name="connsiteX8" fmla="*/ 1631951 w 2808287"/>
              <a:gd name="connsiteY8" fmla="*/ 4356098 h 4356098"/>
              <a:gd name="connsiteX9" fmla="*/ 215676 w 2808287"/>
              <a:gd name="connsiteY9" fmla="*/ 4356098 h 4356098"/>
              <a:gd name="connsiteX10" fmla="*/ 1 w 2808287"/>
              <a:gd name="connsiteY10" fmla="*/ 4356098 h 4356098"/>
              <a:gd name="connsiteX11" fmla="*/ 1 w 2808287"/>
              <a:gd name="connsiteY11" fmla="*/ 4140432 h 4356098"/>
              <a:gd name="connsiteX12" fmla="*/ 0 w 2808287"/>
              <a:gd name="connsiteY12" fmla="*/ 4140422 h 4356098"/>
              <a:gd name="connsiteX13" fmla="*/ 0 w 2808287"/>
              <a:gd name="connsiteY13" fmla="*/ 1140506 h 4356098"/>
              <a:gd name="connsiteX14" fmla="*/ 0 w 2808287"/>
              <a:gd name="connsiteY14" fmla="*/ 215676 h 435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8287" h="4356098">
                <a:moveTo>
                  <a:pt x="0" y="0"/>
                </a:moveTo>
                <a:lnTo>
                  <a:pt x="215676" y="0"/>
                </a:lnTo>
                <a:lnTo>
                  <a:pt x="2592611" y="0"/>
                </a:lnTo>
                <a:lnTo>
                  <a:pt x="2808287" y="0"/>
                </a:lnTo>
                <a:lnTo>
                  <a:pt x="2808287" y="215676"/>
                </a:lnTo>
                <a:lnTo>
                  <a:pt x="2808287" y="1140506"/>
                </a:lnTo>
                <a:lnTo>
                  <a:pt x="2808287" y="4140422"/>
                </a:lnTo>
                <a:cubicBezTo>
                  <a:pt x="2808287" y="4259537"/>
                  <a:pt x="2711726" y="4356098"/>
                  <a:pt x="2592611" y="4356098"/>
                </a:cubicBezTo>
                <a:lnTo>
                  <a:pt x="1631951" y="4356098"/>
                </a:lnTo>
                <a:lnTo>
                  <a:pt x="215676" y="4356098"/>
                </a:lnTo>
                <a:lnTo>
                  <a:pt x="1" y="4356098"/>
                </a:lnTo>
                <a:lnTo>
                  <a:pt x="1" y="4140432"/>
                </a:lnTo>
                <a:lnTo>
                  <a:pt x="0" y="4140422"/>
                </a:lnTo>
                <a:lnTo>
                  <a:pt x="0" y="1140506"/>
                </a:lnTo>
                <a:lnTo>
                  <a:pt x="0" y="215676"/>
                </a:ln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13" name="Fußzeilenplatzhalter 112">
            <a:extLst>
              <a:ext uri="{FF2B5EF4-FFF2-40B4-BE49-F238E27FC236}">
                <a16:creationId xmlns:a16="http://schemas.microsoft.com/office/drawing/2014/main" id="{90827D8A-F4EA-61E7-8BD9-C2DBDE5AE2F1}"/>
              </a:ext>
            </a:extLst>
          </p:cNvPr>
          <p:cNvSpPr>
            <a:spLocks noGrp="1"/>
          </p:cNvSpPr>
          <p:nvPr>
            <p:ph type="ftr" sz="quarter" idx="19"/>
          </p:nvPr>
        </p:nvSpPr>
        <p:spPr/>
        <p:txBody>
          <a:bodyPr/>
          <a:lstStyle/>
          <a:p>
            <a:r>
              <a:rPr lang="en-US"/>
              <a:t>© msg systems ag | 2025 | msg Company Presentation</a:t>
            </a:r>
            <a:endParaRPr lang="de-DE"/>
          </a:p>
        </p:txBody>
      </p:sp>
      <p:sp>
        <p:nvSpPr>
          <p:cNvPr id="114" name="Foliennummernplatzhalter 113">
            <a:extLst>
              <a:ext uri="{FF2B5EF4-FFF2-40B4-BE49-F238E27FC236}">
                <a16:creationId xmlns:a16="http://schemas.microsoft.com/office/drawing/2014/main" id="{29859B51-F142-DEF0-1406-2A2C8104E652}"/>
              </a:ext>
            </a:extLst>
          </p:cNvPr>
          <p:cNvSpPr>
            <a:spLocks noGrp="1"/>
          </p:cNvSpPr>
          <p:nvPr>
            <p:ph type="sldNum" sz="quarter" idx="20"/>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2838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2">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7746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descr="Bild füllt die komplette Folie aus, im unteren Bereich Titel und Untertitel, Bild ist änderbar.">
            <a:extLst>
              <a:ext uri="{FF2B5EF4-FFF2-40B4-BE49-F238E27FC236}">
                <a16:creationId xmlns:a16="http://schemas.microsoft.com/office/drawing/2014/main" id="{38700619-D30A-0E99-296D-8DC5DBAEDD18}"/>
              </a:ext>
              <a:ext uri="{C183D7F6-B498-43B3-948B-1728B52AA6E4}">
                <adec:decorative xmlns:adec="http://schemas.microsoft.com/office/drawing/2017/decorative" val="0"/>
              </a:ext>
            </a:extLst>
          </p:cNvPr>
          <p:cNvSpPr>
            <a:spLocks noGrp="1"/>
          </p:cNvSpPr>
          <p:nvPr>
            <p:ph type="pic" sz="quarter" idx="11"/>
          </p:nvPr>
        </p:nvSpPr>
        <p:spPr bwMode="gray">
          <a:xfrm>
            <a:off x="0" y="0"/>
            <a:ext cx="12192000" cy="6858000"/>
          </a:xfrm>
          <a:custGeom>
            <a:avLst/>
            <a:gdLst>
              <a:gd name="connsiteX0" fmla="*/ 9867883 w 12192000"/>
              <a:gd name="connsiteY0" fmla="*/ 758344 h 6858000"/>
              <a:gd name="connsiteX1" fmla="*/ 9768114 w 12192000"/>
              <a:gd name="connsiteY1" fmla="*/ 857952 h 6858000"/>
              <a:gd name="connsiteX2" fmla="*/ 9867883 w 12192000"/>
              <a:gd name="connsiteY2" fmla="*/ 957326 h 6858000"/>
              <a:gd name="connsiteX3" fmla="*/ 9967651 w 12192000"/>
              <a:gd name="connsiteY3" fmla="*/ 857835 h 6858000"/>
              <a:gd name="connsiteX4" fmla="*/ 9867883 w 12192000"/>
              <a:gd name="connsiteY4" fmla="*/ 758344 h 6858000"/>
              <a:gd name="connsiteX5" fmla="*/ 11428213 w 12192000"/>
              <a:gd name="connsiteY5" fmla="*/ 566781 h 6858000"/>
              <a:gd name="connsiteX6" fmla="*/ 11600036 w 12192000"/>
              <a:gd name="connsiteY6" fmla="*/ 566781 h 6858000"/>
              <a:gd name="connsiteX7" fmla="*/ 11600036 w 12192000"/>
              <a:gd name="connsiteY7" fmla="*/ 884916 h 6858000"/>
              <a:gd name="connsiteX8" fmla="*/ 11599918 w 12192000"/>
              <a:gd name="connsiteY8" fmla="*/ 884798 h 6858000"/>
              <a:gd name="connsiteX9" fmla="*/ 11424439 w 12192000"/>
              <a:gd name="connsiteY9" fmla="*/ 884798 h 6858000"/>
              <a:gd name="connsiteX10" fmla="*/ 11318655 w 12192000"/>
              <a:gd name="connsiteY10" fmla="*/ 821689 h 6858000"/>
              <a:gd name="connsiteX11" fmla="*/ 11318655 w 12192000"/>
              <a:gd name="connsiteY11" fmla="*/ 722552 h 6858000"/>
              <a:gd name="connsiteX12" fmla="*/ 11318655 w 12192000"/>
              <a:gd name="connsiteY12" fmla="*/ 640958 h 6858000"/>
              <a:gd name="connsiteX13" fmla="*/ 11428213 w 12192000"/>
              <a:gd name="connsiteY13" fmla="*/ 566781 h 6858000"/>
              <a:gd name="connsiteX14" fmla="*/ 11398966 w 12192000"/>
              <a:gd name="connsiteY14" fmla="*/ 497078 h 6858000"/>
              <a:gd name="connsiteX15" fmla="*/ 11276200 w 12192000"/>
              <a:gd name="connsiteY15" fmla="*/ 525218 h 6858000"/>
              <a:gd name="connsiteX16" fmla="*/ 11233038 w 12192000"/>
              <a:gd name="connsiteY16" fmla="*/ 642252 h 6858000"/>
              <a:gd name="connsiteX17" fmla="*/ 11233038 w 12192000"/>
              <a:gd name="connsiteY17" fmla="*/ 807442 h 6858000"/>
              <a:gd name="connsiteX18" fmla="*/ 11278795 w 12192000"/>
              <a:gd name="connsiteY18" fmla="*/ 930835 h 6858000"/>
              <a:gd name="connsiteX19" fmla="*/ 11399201 w 12192000"/>
              <a:gd name="connsiteY19" fmla="*/ 954619 h 6858000"/>
              <a:gd name="connsiteX20" fmla="*/ 11599918 w 12192000"/>
              <a:gd name="connsiteY20" fmla="*/ 954619 h 6858000"/>
              <a:gd name="connsiteX21" fmla="*/ 11599918 w 12192000"/>
              <a:gd name="connsiteY21" fmla="*/ 972279 h 6858000"/>
              <a:gd name="connsiteX22" fmla="*/ 11553571 w 12192000"/>
              <a:gd name="connsiteY22" fmla="*/ 1021848 h 6858000"/>
              <a:gd name="connsiteX23" fmla="*/ 11292003 w 12192000"/>
              <a:gd name="connsiteY23" fmla="*/ 1021848 h 6858000"/>
              <a:gd name="connsiteX24" fmla="*/ 11292003 w 12192000"/>
              <a:gd name="connsiteY24" fmla="*/ 1095083 h 6858000"/>
              <a:gd name="connsiteX25" fmla="*/ 11580342 w 12192000"/>
              <a:gd name="connsiteY25" fmla="*/ 1095083 h 6858000"/>
              <a:gd name="connsiteX26" fmla="*/ 11683294 w 12192000"/>
              <a:gd name="connsiteY26" fmla="*/ 995356 h 6858000"/>
              <a:gd name="connsiteX27" fmla="*/ 11683294 w 12192000"/>
              <a:gd name="connsiteY27" fmla="*/ 497078 h 6858000"/>
              <a:gd name="connsiteX28" fmla="*/ 11399084 w 12192000"/>
              <a:gd name="connsiteY28" fmla="*/ 497078 h 6858000"/>
              <a:gd name="connsiteX29" fmla="*/ 10842807 w 12192000"/>
              <a:gd name="connsiteY29" fmla="*/ 497078 h 6858000"/>
              <a:gd name="connsiteX30" fmla="*/ 10725114 w 12192000"/>
              <a:gd name="connsiteY30" fmla="*/ 624003 h 6858000"/>
              <a:gd name="connsiteX31" fmla="*/ 10837029 w 12192000"/>
              <a:gd name="connsiteY31" fmla="*/ 755990 h 6858000"/>
              <a:gd name="connsiteX32" fmla="*/ 11036095 w 12192000"/>
              <a:gd name="connsiteY32" fmla="*/ 755990 h 6858000"/>
              <a:gd name="connsiteX33" fmla="*/ 11097065 w 12192000"/>
              <a:gd name="connsiteY33" fmla="*/ 824044 h 6858000"/>
              <a:gd name="connsiteX34" fmla="*/ 11037629 w 12192000"/>
              <a:gd name="connsiteY34" fmla="*/ 884680 h 6858000"/>
              <a:gd name="connsiteX35" fmla="*/ 10732897 w 12192000"/>
              <a:gd name="connsiteY35" fmla="*/ 884680 h 6858000"/>
              <a:gd name="connsiteX36" fmla="*/ 10732897 w 12192000"/>
              <a:gd name="connsiteY36" fmla="*/ 954383 h 6858000"/>
              <a:gd name="connsiteX37" fmla="*/ 11072536 w 12192000"/>
              <a:gd name="connsiteY37" fmla="*/ 954383 h 6858000"/>
              <a:gd name="connsiteX38" fmla="*/ 11181502 w 12192000"/>
              <a:gd name="connsiteY38" fmla="*/ 824633 h 6858000"/>
              <a:gd name="connsiteX39" fmla="*/ 11077843 w 12192000"/>
              <a:gd name="connsiteY39" fmla="*/ 686405 h 6858000"/>
              <a:gd name="connsiteX40" fmla="*/ 10862856 w 12192000"/>
              <a:gd name="connsiteY40" fmla="*/ 686405 h 6858000"/>
              <a:gd name="connsiteX41" fmla="*/ 10808608 w 12192000"/>
              <a:gd name="connsiteY41" fmla="*/ 625416 h 6858000"/>
              <a:gd name="connsiteX42" fmla="*/ 10872173 w 12192000"/>
              <a:gd name="connsiteY42" fmla="*/ 566663 h 6858000"/>
              <a:gd name="connsiteX43" fmla="*/ 11165818 w 12192000"/>
              <a:gd name="connsiteY43" fmla="*/ 566663 h 6858000"/>
              <a:gd name="connsiteX44" fmla="*/ 11165818 w 12192000"/>
              <a:gd name="connsiteY44" fmla="*/ 497078 h 6858000"/>
              <a:gd name="connsiteX45" fmla="*/ 10031805 w 12192000"/>
              <a:gd name="connsiteY45" fmla="*/ 497078 h 6858000"/>
              <a:gd name="connsiteX46" fmla="*/ 10031805 w 12192000"/>
              <a:gd name="connsiteY46" fmla="*/ 954500 h 6858000"/>
              <a:gd name="connsiteX47" fmla="*/ 10115417 w 12192000"/>
              <a:gd name="connsiteY47" fmla="*/ 954500 h 6858000"/>
              <a:gd name="connsiteX48" fmla="*/ 10115417 w 12192000"/>
              <a:gd name="connsiteY48" fmla="*/ 566663 h 6858000"/>
              <a:gd name="connsiteX49" fmla="*/ 10306935 w 12192000"/>
              <a:gd name="connsiteY49" fmla="*/ 566663 h 6858000"/>
              <a:gd name="connsiteX50" fmla="*/ 10306935 w 12192000"/>
              <a:gd name="connsiteY50" fmla="*/ 954500 h 6858000"/>
              <a:gd name="connsiteX51" fmla="*/ 10390784 w 12192000"/>
              <a:gd name="connsiteY51" fmla="*/ 954500 h 6858000"/>
              <a:gd name="connsiteX52" fmla="*/ 10390784 w 12192000"/>
              <a:gd name="connsiteY52" fmla="*/ 566663 h 6858000"/>
              <a:gd name="connsiteX53" fmla="*/ 10518148 w 12192000"/>
              <a:gd name="connsiteY53" fmla="*/ 566663 h 6858000"/>
              <a:gd name="connsiteX54" fmla="*/ 10591501 w 12192000"/>
              <a:gd name="connsiteY54" fmla="*/ 648375 h 6858000"/>
              <a:gd name="connsiteX55" fmla="*/ 10591501 w 12192000"/>
              <a:gd name="connsiteY55" fmla="*/ 954500 h 6858000"/>
              <a:gd name="connsiteX56" fmla="*/ 10675230 w 12192000"/>
              <a:gd name="connsiteY56" fmla="*/ 954500 h 6858000"/>
              <a:gd name="connsiteX57" fmla="*/ 10675230 w 12192000"/>
              <a:gd name="connsiteY57" fmla="*/ 625180 h 6858000"/>
              <a:gd name="connsiteX58" fmla="*/ 10560367 w 12192000"/>
              <a:gd name="connsiteY58" fmla="*/ 497078 h 6858000"/>
              <a:gd name="connsiteX59" fmla="*/ 0 w 12192000"/>
              <a:gd name="connsiteY59" fmla="*/ 0 h 6858000"/>
              <a:gd name="connsiteX60" fmla="*/ 12192000 w 12192000"/>
              <a:gd name="connsiteY60" fmla="*/ 0 h 6858000"/>
              <a:gd name="connsiteX61" fmla="*/ 12192000 w 12192000"/>
              <a:gd name="connsiteY61" fmla="*/ 6858000 h 6858000"/>
              <a:gd name="connsiteX62" fmla="*/ 0 w 12192000"/>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2192000" h="6858000">
                <a:moveTo>
                  <a:pt x="9867883" y="758344"/>
                </a:moveTo>
                <a:cubicBezTo>
                  <a:pt x="9812810" y="758344"/>
                  <a:pt x="9768114" y="802968"/>
                  <a:pt x="9768114" y="857952"/>
                </a:cubicBezTo>
                <a:cubicBezTo>
                  <a:pt x="9768114" y="912820"/>
                  <a:pt x="9812810" y="957326"/>
                  <a:pt x="9867883" y="957326"/>
                </a:cubicBezTo>
                <a:cubicBezTo>
                  <a:pt x="9922955" y="957326"/>
                  <a:pt x="9967651" y="912702"/>
                  <a:pt x="9967651" y="857835"/>
                </a:cubicBezTo>
                <a:cubicBezTo>
                  <a:pt x="9967651" y="802968"/>
                  <a:pt x="9922955" y="758344"/>
                  <a:pt x="9867883" y="758344"/>
                </a:cubicBezTo>
                <a:close/>
                <a:moveTo>
                  <a:pt x="11428213" y="566781"/>
                </a:moveTo>
                <a:cubicBezTo>
                  <a:pt x="11433283" y="566898"/>
                  <a:pt x="11600036" y="566781"/>
                  <a:pt x="11600036" y="566781"/>
                </a:cubicBezTo>
                <a:lnTo>
                  <a:pt x="11600036" y="884916"/>
                </a:lnTo>
                <a:lnTo>
                  <a:pt x="11599918" y="884798"/>
                </a:lnTo>
                <a:lnTo>
                  <a:pt x="11424439" y="884798"/>
                </a:lnTo>
                <a:cubicBezTo>
                  <a:pt x="11372550" y="885151"/>
                  <a:pt x="11319952" y="888683"/>
                  <a:pt x="11318655" y="821689"/>
                </a:cubicBezTo>
                <a:cubicBezTo>
                  <a:pt x="11318655" y="818863"/>
                  <a:pt x="11318420" y="794255"/>
                  <a:pt x="11318655" y="722552"/>
                </a:cubicBezTo>
                <a:cubicBezTo>
                  <a:pt x="11318891" y="661680"/>
                  <a:pt x="11318302" y="647198"/>
                  <a:pt x="11318655" y="640958"/>
                </a:cubicBezTo>
                <a:cubicBezTo>
                  <a:pt x="11321486" y="584795"/>
                  <a:pt x="11342360" y="564779"/>
                  <a:pt x="11428213" y="566781"/>
                </a:cubicBezTo>
                <a:close/>
                <a:moveTo>
                  <a:pt x="11398966" y="497078"/>
                </a:moveTo>
                <a:cubicBezTo>
                  <a:pt x="11324434" y="497078"/>
                  <a:pt x="11296603" y="508970"/>
                  <a:pt x="11276200" y="525218"/>
                </a:cubicBezTo>
                <a:cubicBezTo>
                  <a:pt x="11253912" y="542998"/>
                  <a:pt x="11233392" y="565485"/>
                  <a:pt x="11233038" y="642252"/>
                </a:cubicBezTo>
                <a:lnTo>
                  <a:pt x="11233038" y="807442"/>
                </a:lnTo>
                <a:cubicBezTo>
                  <a:pt x="11233038" y="888683"/>
                  <a:pt x="11255681" y="911408"/>
                  <a:pt x="11278795" y="930835"/>
                </a:cubicBezTo>
                <a:cubicBezTo>
                  <a:pt x="11294362" y="941903"/>
                  <a:pt x="11320071" y="954619"/>
                  <a:pt x="11399201" y="954619"/>
                </a:cubicBezTo>
                <a:lnTo>
                  <a:pt x="11599918" y="954619"/>
                </a:lnTo>
                <a:cubicBezTo>
                  <a:pt x="11599918" y="954619"/>
                  <a:pt x="11599918" y="968629"/>
                  <a:pt x="11599918" y="972279"/>
                </a:cubicBezTo>
                <a:cubicBezTo>
                  <a:pt x="11599918" y="1006777"/>
                  <a:pt x="11593196" y="1021848"/>
                  <a:pt x="11553571" y="1021848"/>
                </a:cubicBezTo>
                <a:lnTo>
                  <a:pt x="11292003" y="1021848"/>
                </a:lnTo>
                <a:lnTo>
                  <a:pt x="11292003" y="1095083"/>
                </a:lnTo>
                <a:lnTo>
                  <a:pt x="11580342" y="1095083"/>
                </a:lnTo>
                <a:cubicBezTo>
                  <a:pt x="11658058" y="1095083"/>
                  <a:pt x="11683294" y="1060585"/>
                  <a:pt x="11683294" y="995356"/>
                </a:cubicBezTo>
                <a:lnTo>
                  <a:pt x="11683294" y="497078"/>
                </a:lnTo>
                <a:lnTo>
                  <a:pt x="11399084" y="497078"/>
                </a:lnTo>
                <a:close/>
                <a:moveTo>
                  <a:pt x="10842807" y="497078"/>
                </a:moveTo>
                <a:cubicBezTo>
                  <a:pt x="10752474" y="497078"/>
                  <a:pt x="10725114" y="557008"/>
                  <a:pt x="10725114" y="624003"/>
                </a:cubicBezTo>
                <a:cubicBezTo>
                  <a:pt x="10725114" y="695589"/>
                  <a:pt x="10754950" y="755990"/>
                  <a:pt x="10837029" y="755990"/>
                </a:cubicBezTo>
                <a:lnTo>
                  <a:pt x="11036095" y="755990"/>
                </a:lnTo>
                <a:cubicBezTo>
                  <a:pt x="11097065" y="755990"/>
                  <a:pt x="11097065" y="802733"/>
                  <a:pt x="11097065" y="824044"/>
                </a:cubicBezTo>
                <a:cubicBezTo>
                  <a:pt x="11097065" y="843824"/>
                  <a:pt x="11097065" y="884680"/>
                  <a:pt x="11037629" y="884680"/>
                </a:cubicBezTo>
                <a:lnTo>
                  <a:pt x="10732897" y="884680"/>
                </a:lnTo>
                <a:lnTo>
                  <a:pt x="10732897" y="954383"/>
                </a:lnTo>
                <a:lnTo>
                  <a:pt x="11072536" y="954383"/>
                </a:lnTo>
                <a:cubicBezTo>
                  <a:pt x="11157209" y="954383"/>
                  <a:pt x="11181502" y="904697"/>
                  <a:pt x="11181502" y="824633"/>
                </a:cubicBezTo>
                <a:cubicBezTo>
                  <a:pt x="11181502" y="729145"/>
                  <a:pt x="11150251" y="686405"/>
                  <a:pt x="11077843" y="686405"/>
                </a:cubicBezTo>
                <a:lnTo>
                  <a:pt x="10862856" y="686405"/>
                </a:lnTo>
                <a:cubicBezTo>
                  <a:pt x="10808608" y="686405"/>
                  <a:pt x="10808608" y="649787"/>
                  <a:pt x="10808608" y="625416"/>
                </a:cubicBezTo>
                <a:cubicBezTo>
                  <a:pt x="10808608" y="606341"/>
                  <a:pt x="10814034" y="566663"/>
                  <a:pt x="10872173" y="566663"/>
                </a:cubicBezTo>
                <a:lnTo>
                  <a:pt x="11165818" y="566663"/>
                </a:lnTo>
                <a:lnTo>
                  <a:pt x="11165818" y="497078"/>
                </a:lnTo>
                <a:close/>
                <a:moveTo>
                  <a:pt x="10031805" y="497078"/>
                </a:moveTo>
                <a:lnTo>
                  <a:pt x="10031805" y="954500"/>
                </a:lnTo>
                <a:lnTo>
                  <a:pt x="10115417" y="954500"/>
                </a:lnTo>
                <a:lnTo>
                  <a:pt x="10115417" y="566663"/>
                </a:lnTo>
                <a:lnTo>
                  <a:pt x="10306935" y="566663"/>
                </a:lnTo>
                <a:lnTo>
                  <a:pt x="10306935" y="954500"/>
                </a:lnTo>
                <a:lnTo>
                  <a:pt x="10390784" y="954500"/>
                </a:lnTo>
                <a:lnTo>
                  <a:pt x="10390784" y="566663"/>
                </a:lnTo>
                <a:lnTo>
                  <a:pt x="10518148" y="566663"/>
                </a:lnTo>
                <a:cubicBezTo>
                  <a:pt x="10561192" y="566663"/>
                  <a:pt x="10591501" y="592449"/>
                  <a:pt x="10591501" y="648375"/>
                </a:cubicBezTo>
                <a:lnTo>
                  <a:pt x="10591501" y="954500"/>
                </a:lnTo>
                <a:lnTo>
                  <a:pt x="10675230" y="954500"/>
                </a:lnTo>
                <a:lnTo>
                  <a:pt x="10675230" y="625180"/>
                </a:lnTo>
                <a:cubicBezTo>
                  <a:pt x="10675348" y="562895"/>
                  <a:pt x="10643154" y="497078"/>
                  <a:pt x="10560367" y="497078"/>
                </a:cubicBezTo>
                <a:close/>
                <a:moveTo>
                  <a:pt x="0" y="0"/>
                </a:moveTo>
                <a:lnTo>
                  <a:pt x="12192000" y="0"/>
                </a:lnTo>
                <a:lnTo>
                  <a:pt x="12192000"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623888" y="3502024"/>
            <a:ext cx="8208831" cy="2590799"/>
          </a:xfrm>
          <a:custGeom>
            <a:avLst/>
            <a:gdLst>
              <a:gd name="connsiteX0" fmla="*/ 0 w 8253412"/>
              <a:gd name="connsiteY0" fmla="*/ 0 h 2522538"/>
              <a:gd name="connsiteX1" fmla="*/ 8033018 w 8253412"/>
              <a:gd name="connsiteY1" fmla="*/ 0 h 2522538"/>
              <a:gd name="connsiteX2" fmla="*/ 8253412 w 8253412"/>
              <a:gd name="connsiteY2" fmla="*/ 220394 h 2522538"/>
              <a:gd name="connsiteX3" fmla="*/ 8253412 w 8253412"/>
              <a:gd name="connsiteY3" fmla="*/ 2522538 h 2522538"/>
              <a:gd name="connsiteX4" fmla="*/ 220394 w 8253412"/>
              <a:gd name="connsiteY4" fmla="*/ 2522538 h 2522538"/>
              <a:gd name="connsiteX5" fmla="*/ 0 w 8253412"/>
              <a:gd name="connsiteY5"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3412" h="2522538">
                <a:moveTo>
                  <a:pt x="0" y="0"/>
                </a:moveTo>
                <a:lnTo>
                  <a:pt x="8033018" y="0"/>
                </a:lnTo>
                <a:cubicBezTo>
                  <a:pt x="8154738" y="0"/>
                  <a:pt x="8253412" y="98674"/>
                  <a:pt x="8253412" y="220394"/>
                </a:cubicBezTo>
                <a:lnTo>
                  <a:pt x="8253412" y="2522538"/>
                </a:lnTo>
                <a:lnTo>
                  <a:pt x="220394" y="2522538"/>
                </a:lnTo>
                <a:cubicBezTo>
                  <a:pt x="98674" y="2522538"/>
                  <a:pt x="0" y="2423864"/>
                  <a:pt x="0" y="2302144"/>
                </a:cubicBezTo>
                <a:close/>
              </a:path>
            </a:pathLst>
          </a:custGeom>
          <a:solidFill>
            <a:schemeClr val="bg1"/>
          </a:solidFill>
        </p:spPr>
        <p:txBody>
          <a:bodyPr vert="horz" wrap="square" lIns="1404000" tIns="360000" anchor="t">
            <a:noAutofit/>
          </a:bodyPr>
          <a:lstStyle>
            <a:lvl1pPr algn="l" rtl="0">
              <a:defRPr sz="4000">
                <a:solidFill>
                  <a:schemeClr val="accent1"/>
                </a:solidFill>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082801" y="5425985"/>
            <a:ext cx="6426200"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sp>
        <p:nvSpPr>
          <p:cNvPr id="5" name="Textplatzhalter 4">
            <a:extLst>
              <a:ext uri="{FF2B5EF4-FFF2-40B4-BE49-F238E27FC236}">
                <a16:creationId xmlns:a16="http://schemas.microsoft.com/office/drawing/2014/main" id="{80DE9058-D20E-CEB2-68D0-6D683A3480D1}"/>
              </a:ext>
              <a:ext uri="{C183D7F6-B498-43B3-948B-1728B52AA6E4}">
                <adec:decorative xmlns:adec="http://schemas.microsoft.com/office/drawing/2017/decorative" val="1"/>
              </a:ext>
            </a:extLst>
          </p:cNvPr>
          <p:cNvSpPr>
            <a:spLocks noGrp="1"/>
          </p:cNvSpPr>
          <p:nvPr>
            <p:ph type="body" sz="quarter" idx="12" hasCustomPrompt="1"/>
          </p:nvPr>
        </p:nvSpPr>
        <p:spPr>
          <a:xfrm>
            <a:off x="944423" y="2783872"/>
            <a:ext cx="1451115" cy="1451115"/>
          </a:xfrm>
          <a:blipFill>
            <a:blip r:embed="rId5"/>
            <a:stretch>
              <a:fillRect/>
            </a:stretch>
          </a:blipFill>
        </p:spPr>
        <p:txBody>
          <a:bodyPr/>
          <a:lstStyle>
            <a:lvl1pPr>
              <a:defRPr sz="100">
                <a:noFill/>
              </a:defRPr>
            </a:lvl1pPr>
          </a:lstStyle>
          <a:p>
            <a:pPr lvl="0"/>
            <a:r>
              <a:rPr lang="de-DE"/>
              <a:t> </a:t>
            </a:r>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7" name="Gruppieren 106">
            <a:extLst>
              <a:ext uri="{FF2B5EF4-FFF2-40B4-BE49-F238E27FC236}">
                <a16:creationId xmlns:a16="http://schemas.microsoft.com/office/drawing/2014/main" id="{0FFB11FD-5603-A85E-7E6C-98D18828B75E}"/>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08" name="Gerader Verbinder 107">
              <a:extLst>
                <a:ext uri="{FF2B5EF4-FFF2-40B4-BE49-F238E27FC236}">
                  <a16:creationId xmlns:a16="http://schemas.microsoft.com/office/drawing/2014/main" id="{2749D2E9-7EFF-A7FC-D65E-1AC784A7CD8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74D5BDE7-D3CD-5FF1-B688-34B9E5140D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E9C7C25-1933-BC6A-DB3E-6D5C34851E1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118A8B3-21EC-357B-D737-316C53323E8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85A19224-5EE4-7CCA-E52B-733A7C0E594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ED0C12E0-83B2-3BC7-17E7-3A2A7136972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47E84BB0-6D19-1552-6395-59C0BDFF3D7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5" name="Gruppieren 114">
            <a:extLst>
              <a:ext uri="{FF2B5EF4-FFF2-40B4-BE49-F238E27FC236}">
                <a16:creationId xmlns:a16="http://schemas.microsoft.com/office/drawing/2014/main" id="{72C44A55-22E9-D998-D105-EE8FE060E5BB}"/>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16" name="Gerader Verbinder 115">
              <a:extLst>
                <a:ext uri="{FF2B5EF4-FFF2-40B4-BE49-F238E27FC236}">
                  <a16:creationId xmlns:a16="http://schemas.microsoft.com/office/drawing/2014/main" id="{869DD93A-B32E-4DD1-FF2C-1FC9304E591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313063ED-0434-6B81-3979-EEEB8B3729E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6366CB3D-71E3-F59F-5731-2421DB9342D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92DE8F93-E4A8-6D5B-9AD1-1320DF18522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116E9E51-1B14-0883-608D-6EE70B25BAE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A996F359-5008-F2C0-3A4F-3CE19BAE67F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E6DB519A-BC99-1D3C-F0EE-A9E63E3B2B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682123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message mit Bi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05662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descr="Bild füllt die komplette Folie aus, oben links Titel und Untertitel, Bild ist änderbar.">
            <a:extLst>
              <a:ext uri="{FF2B5EF4-FFF2-40B4-BE49-F238E27FC236}">
                <a16:creationId xmlns:a16="http://schemas.microsoft.com/office/drawing/2014/main" id="{0C3BE6D5-789A-7785-D582-2549391021AB}"/>
              </a:ext>
            </a:extLst>
          </p:cNvPr>
          <p:cNvSpPr>
            <a:spLocks noGrp="1"/>
          </p:cNvSpPr>
          <p:nvPr>
            <p:ph type="pic" sz="quarter" idx="14"/>
          </p:nvPr>
        </p:nvSpPr>
        <p:spPr bwMode="gray">
          <a:xfrm>
            <a:off x="2" y="1"/>
            <a:ext cx="12191999" cy="6857999"/>
          </a:xfrm>
          <a:custGeom>
            <a:avLst/>
            <a:gdLst>
              <a:gd name="connsiteX0" fmla="*/ 10764520 w 12191999"/>
              <a:gd name="connsiteY0" fmla="*/ 454510 h 6857999"/>
              <a:gd name="connsiteX1" fmla="*/ 10704520 w 12191999"/>
              <a:gd name="connsiteY1" fmla="*/ 514510 h 6857999"/>
              <a:gd name="connsiteX2" fmla="*/ 10764520 w 12191999"/>
              <a:gd name="connsiteY2" fmla="*/ 574510 h 6857999"/>
              <a:gd name="connsiteX3" fmla="*/ 10824520 w 12191999"/>
              <a:gd name="connsiteY3" fmla="*/ 514510 h 6857999"/>
              <a:gd name="connsiteX4" fmla="*/ 10764520 w 12191999"/>
              <a:gd name="connsiteY4" fmla="*/ 454510 h 6857999"/>
              <a:gd name="connsiteX5" fmla="*/ 11703579 w 12191999"/>
              <a:gd name="connsiteY5" fmla="*/ 338981 h 6857999"/>
              <a:gd name="connsiteX6" fmla="*/ 11807108 w 12191999"/>
              <a:gd name="connsiteY6" fmla="*/ 338981 h 6857999"/>
              <a:gd name="connsiteX7" fmla="*/ 11807108 w 12191999"/>
              <a:gd name="connsiteY7" fmla="*/ 530745 h 6857999"/>
              <a:gd name="connsiteX8" fmla="*/ 11701461 w 12191999"/>
              <a:gd name="connsiteY8" fmla="*/ 530745 h 6857999"/>
              <a:gd name="connsiteX9" fmla="*/ 11637696 w 12191999"/>
              <a:gd name="connsiteY9" fmla="*/ 492628 h 6857999"/>
              <a:gd name="connsiteX10" fmla="*/ 11637696 w 12191999"/>
              <a:gd name="connsiteY10" fmla="*/ 432863 h 6857999"/>
              <a:gd name="connsiteX11" fmla="*/ 11637696 w 12191999"/>
              <a:gd name="connsiteY11" fmla="*/ 383687 h 6857999"/>
              <a:gd name="connsiteX12" fmla="*/ 11703579 w 12191999"/>
              <a:gd name="connsiteY12" fmla="*/ 338981 h 6857999"/>
              <a:gd name="connsiteX13" fmla="*/ 11686167 w 12191999"/>
              <a:gd name="connsiteY13" fmla="*/ 296863 h 6857999"/>
              <a:gd name="connsiteX14" fmla="*/ 11612284 w 12191999"/>
              <a:gd name="connsiteY14" fmla="*/ 313804 h 6857999"/>
              <a:gd name="connsiteX15" fmla="*/ 11586402 w 12191999"/>
              <a:gd name="connsiteY15" fmla="*/ 384392 h 6857999"/>
              <a:gd name="connsiteX16" fmla="*/ 11586402 w 12191999"/>
              <a:gd name="connsiteY16" fmla="*/ 483922 h 6857999"/>
              <a:gd name="connsiteX17" fmla="*/ 11613931 w 12191999"/>
              <a:gd name="connsiteY17" fmla="*/ 558275 h 6857999"/>
              <a:gd name="connsiteX18" fmla="*/ 11686402 w 12191999"/>
              <a:gd name="connsiteY18" fmla="*/ 572628 h 6857999"/>
              <a:gd name="connsiteX19" fmla="*/ 11807108 w 12191999"/>
              <a:gd name="connsiteY19" fmla="*/ 572628 h 6857999"/>
              <a:gd name="connsiteX20" fmla="*/ 11807108 w 12191999"/>
              <a:gd name="connsiteY20" fmla="*/ 583216 h 6857999"/>
              <a:gd name="connsiteX21" fmla="*/ 11779108 w 12191999"/>
              <a:gd name="connsiteY21" fmla="*/ 613098 h 6857999"/>
              <a:gd name="connsiteX22" fmla="*/ 11621696 w 12191999"/>
              <a:gd name="connsiteY22" fmla="*/ 613098 h 6857999"/>
              <a:gd name="connsiteX23" fmla="*/ 11621696 w 12191999"/>
              <a:gd name="connsiteY23" fmla="*/ 657334 h 6857999"/>
              <a:gd name="connsiteX24" fmla="*/ 11795343 w 12191999"/>
              <a:gd name="connsiteY24" fmla="*/ 657334 h 6857999"/>
              <a:gd name="connsiteX25" fmla="*/ 11857226 w 12191999"/>
              <a:gd name="connsiteY25" fmla="*/ 597098 h 6857999"/>
              <a:gd name="connsiteX26" fmla="*/ 11857226 w 12191999"/>
              <a:gd name="connsiteY26" fmla="*/ 296863 h 6857999"/>
              <a:gd name="connsiteX27" fmla="*/ 11351579 w 12191999"/>
              <a:gd name="connsiteY27" fmla="*/ 296863 h 6857999"/>
              <a:gd name="connsiteX28" fmla="*/ 11280755 w 12191999"/>
              <a:gd name="connsiteY28" fmla="*/ 373334 h 6857999"/>
              <a:gd name="connsiteX29" fmla="*/ 11348049 w 12191999"/>
              <a:gd name="connsiteY29" fmla="*/ 452863 h 6857999"/>
              <a:gd name="connsiteX30" fmla="*/ 11467814 w 12191999"/>
              <a:gd name="connsiteY30" fmla="*/ 452863 h 6857999"/>
              <a:gd name="connsiteX31" fmla="*/ 11504520 w 12191999"/>
              <a:gd name="connsiteY31" fmla="*/ 494039 h 6857999"/>
              <a:gd name="connsiteX32" fmla="*/ 11468755 w 12191999"/>
              <a:gd name="connsiteY32" fmla="*/ 530745 h 6857999"/>
              <a:gd name="connsiteX33" fmla="*/ 11285461 w 12191999"/>
              <a:gd name="connsiteY33" fmla="*/ 530745 h 6857999"/>
              <a:gd name="connsiteX34" fmla="*/ 11285461 w 12191999"/>
              <a:gd name="connsiteY34" fmla="*/ 572863 h 6857999"/>
              <a:gd name="connsiteX35" fmla="*/ 11489932 w 12191999"/>
              <a:gd name="connsiteY35" fmla="*/ 572863 h 6857999"/>
              <a:gd name="connsiteX36" fmla="*/ 11555579 w 12191999"/>
              <a:gd name="connsiteY36" fmla="*/ 494510 h 6857999"/>
              <a:gd name="connsiteX37" fmla="*/ 11493226 w 12191999"/>
              <a:gd name="connsiteY37" fmla="*/ 411216 h 6857999"/>
              <a:gd name="connsiteX38" fmla="*/ 11363814 w 12191999"/>
              <a:gd name="connsiteY38" fmla="*/ 411216 h 6857999"/>
              <a:gd name="connsiteX39" fmla="*/ 11331108 w 12191999"/>
              <a:gd name="connsiteY39" fmla="*/ 374510 h 6857999"/>
              <a:gd name="connsiteX40" fmla="*/ 11369226 w 12191999"/>
              <a:gd name="connsiteY40" fmla="*/ 338981 h 6857999"/>
              <a:gd name="connsiteX41" fmla="*/ 11545932 w 12191999"/>
              <a:gd name="connsiteY41" fmla="*/ 338981 h 6857999"/>
              <a:gd name="connsiteX42" fmla="*/ 11545932 w 12191999"/>
              <a:gd name="connsiteY42" fmla="*/ 297098 h 6857999"/>
              <a:gd name="connsiteX43" fmla="*/ 10863343 w 12191999"/>
              <a:gd name="connsiteY43" fmla="*/ 296863 h 6857999"/>
              <a:gd name="connsiteX44" fmla="*/ 10863343 w 12191999"/>
              <a:gd name="connsiteY44" fmla="*/ 572628 h 6857999"/>
              <a:gd name="connsiteX45" fmla="*/ 10913696 w 12191999"/>
              <a:gd name="connsiteY45" fmla="*/ 572628 h 6857999"/>
              <a:gd name="connsiteX46" fmla="*/ 10913696 w 12191999"/>
              <a:gd name="connsiteY46" fmla="*/ 338745 h 6857999"/>
              <a:gd name="connsiteX47" fmla="*/ 11028990 w 12191999"/>
              <a:gd name="connsiteY47" fmla="*/ 338745 h 6857999"/>
              <a:gd name="connsiteX48" fmla="*/ 11028990 w 12191999"/>
              <a:gd name="connsiteY48" fmla="*/ 572628 h 6857999"/>
              <a:gd name="connsiteX49" fmla="*/ 11079578 w 12191999"/>
              <a:gd name="connsiteY49" fmla="*/ 572628 h 6857999"/>
              <a:gd name="connsiteX50" fmla="*/ 11079578 w 12191999"/>
              <a:gd name="connsiteY50" fmla="*/ 338745 h 6857999"/>
              <a:gd name="connsiteX51" fmla="*/ 11156284 w 12191999"/>
              <a:gd name="connsiteY51" fmla="*/ 338745 h 6857999"/>
              <a:gd name="connsiteX52" fmla="*/ 11200520 w 12191999"/>
              <a:gd name="connsiteY52" fmla="*/ 387922 h 6857999"/>
              <a:gd name="connsiteX53" fmla="*/ 11200520 w 12191999"/>
              <a:gd name="connsiteY53" fmla="*/ 572628 h 6857999"/>
              <a:gd name="connsiteX54" fmla="*/ 11250873 w 12191999"/>
              <a:gd name="connsiteY54" fmla="*/ 572628 h 6857999"/>
              <a:gd name="connsiteX55" fmla="*/ 11250873 w 12191999"/>
              <a:gd name="connsiteY55" fmla="*/ 374039 h 6857999"/>
              <a:gd name="connsiteX56" fmla="*/ 11181696 w 12191999"/>
              <a:gd name="connsiteY56" fmla="*/ 296863 h 6857999"/>
              <a:gd name="connsiteX57" fmla="*/ 0 w 12191999"/>
              <a:gd name="connsiteY57" fmla="*/ 0 h 6857999"/>
              <a:gd name="connsiteX58" fmla="*/ 12191999 w 12191999"/>
              <a:gd name="connsiteY58" fmla="*/ 0 h 6857999"/>
              <a:gd name="connsiteX59" fmla="*/ 12191999 w 12191999"/>
              <a:gd name="connsiteY59" fmla="*/ 6857999 h 6857999"/>
              <a:gd name="connsiteX60" fmla="*/ 0 w 12191999"/>
              <a:gd name="connsiteY6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9" h="6857999">
                <a:moveTo>
                  <a:pt x="10764520" y="454510"/>
                </a:moveTo>
                <a:cubicBezTo>
                  <a:pt x="10731344" y="454510"/>
                  <a:pt x="10704520" y="481334"/>
                  <a:pt x="10704520" y="514510"/>
                </a:cubicBezTo>
                <a:cubicBezTo>
                  <a:pt x="10704520" y="547686"/>
                  <a:pt x="10731344" y="574510"/>
                  <a:pt x="10764520" y="574510"/>
                </a:cubicBezTo>
                <a:cubicBezTo>
                  <a:pt x="10797697" y="574510"/>
                  <a:pt x="10824520" y="547686"/>
                  <a:pt x="10824520" y="514510"/>
                </a:cubicBezTo>
                <a:cubicBezTo>
                  <a:pt x="10824520" y="481334"/>
                  <a:pt x="10797697" y="454510"/>
                  <a:pt x="10764520" y="454510"/>
                </a:cubicBezTo>
                <a:close/>
                <a:moveTo>
                  <a:pt x="11703579" y="338981"/>
                </a:moveTo>
                <a:lnTo>
                  <a:pt x="11807108" y="338981"/>
                </a:lnTo>
                <a:lnTo>
                  <a:pt x="11807108" y="530745"/>
                </a:lnTo>
                <a:lnTo>
                  <a:pt x="11701461" y="530745"/>
                </a:lnTo>
                <a:cubicBezTo>
                  <a:pt x="11670167" y="530981"/>
                  <a:pt x="11638637" y="533098"/>
                  <a:pt x="11637696" y="492628"/>
                </a:cubicBezTo>
                <a:cubicBezTo>
                  <a:pt x="11637696" y="490981"/>
                  <a:pt x="11637461" y="476157"/>
                  <a:pt x="11637696" y="432863"/>
                </a:cubicBezTo>
                <a:cubicBezTo>
                  <a:pt x="11637932" y="396157"/>
                  <a:pt x="11637461" y="387451"/>
                  <a:pt x="11637696" y="383687"/>
                </a:cubicBezTo>
                <a:cubicBezTo>
                  <a:pt x="11639343" y="349804"/>
                  <a:pt x="11651814" y="337804"/>
                  <a:pt x="11703579" y="338981"/>
                </a:cubicBezTo>
                <a:close/>
                <a:moveTo>
                  <a:pt x="11686167" y="296863"/>
                </a:moveTo>
                <a:cubicBezTo>
                  <a:pt x="11641226" y="296863"/>
                  <a:pt x="11624520" y="303922"/>
                  <a:pt x="11612284" y="313804"/>
                </a:cubicBezTo>
                <a:cubicBezTo>
                  <a:pt x="11598873" y="324628"/>
                  <a:pt x="11586637" y="338039"/>
                  <a:pt x="11586402" y="384392"/>
                </a:cubicBezTo>
                <a:lnTo>
                  <a:pt x="11586402" y="483922"/>
                </a:lnTo>
                <a:cubicBezTo>
                  <a:pt x="11586402" y="532863"/>
                  <a:pt x="11600049" y="546745"/>
                  <a:pt x="11613931" y="558275"/>
                </a:cubicBezTo>
                <a:cubicBezTo>
                  <a:pt x="11623343" y="564863"/>
                  <a:pt x="11638873" y="572628"/>
                  <a:pt x="11686402" y="572628"/>
                </a:cubicBezTo>
                <a:lnTo>
                  <a:pt x="11807108" y="572628"/>
                </a:lnTo>
                <a:lnTo>
                  <a:pt x="11807108" y="583216"/>
                </a:lnTo>
                <a:cubicBezTo>
                  <a:pt x="11807108" y="604157"/>
                  <a:pt x="11803108" y="613098"/>
                  <a:pt x="11779108" y="613098"/>
                </a:cubicBezTo>
                <a:lnTo>
                  <a:pt x="11621696" y="613098"/>
                </a:lnTo>
                <a:lnTo>
                  <a:pt x="11621696" y="657334"/>
                </a:lnTo>
                <a:lnTo>
                  <a:pt x="11795343" y="657334"/>
                </a:lnTo>
                <a:cubicBezTo>
                  <a:pt x="11842167" y="657334"/>
                  <a:pt x="11857226" y="636392"/>
                  <a:pt x="11857226" y="597098"/>
                </a:cubicBezTo>
                <a:lnTo>
                  <a:pt x="11857226" y="296863"/>
                </a:lnTo>
                <a:close/>
                <a:moveTo>
                  <a:pt x="11351579" y="296863"/>
                </a:moveTo>
                <a:cubicBezTo>
                  <a:pt x="11297226" y="296863"/>
                  <a:pt x="11280755" y="333098"/>
                  <a:pt x="11280755" y="373334"/>
                </a:cubicBezTo>
                <a:cubicBezTo>
                  <a:pt x="11280755" y="416628"/>
                  <a:pt x="11298637" y="452863"/>
                  <a:pt x="11348049" y="452863"/>
                </a:cubicBezTo>
                <a:lnTo>
                  <a:pt x="11467814" y="452863"/>
                </a:lnTo>
                <a:cubicBezTo>
                  <a:pt x="11504520" y="452863"/>
                  <a:pt x="11504520" y="481098"/>
                  <a:pt x="11504520" y="494039"/>
                </a:cubicBezTo>
                <a:cubicBezTo>
                  <a:pt x="11504520" y="506039"/>
                  <a:pt x="11504520" y="530745"/>
                  <a:pt x="11468755" y="530745"/>
                </a:cubicBezTo>
                <a:lnTo>
                  <a:pt x="11285461" y="530745"/>
                </a:lnTo>
                <a:lnTo>
                  <a:pt x="11285461" y="572863"/>
                </a:lnTo>
                <a:lnTo>
                  <a:pt x="11489932" y="572863"/>
                </a:lnTo>
                <a:cubicBezTo>
                  <a:pt x="11540991" y="572863"/>
                  <a:pt x="11555579" y="542981"/>
                  <a:pt x="11555579" y="494510"/>
                </a:cubicBezTo>
                <a:cubicBezTo>
                  <a:pt x="11555579" y="436863"/>
                  <a:pt x="11536755" y="411216"/>
                  <a:pt x="11493226" y="411216"/>
                </a:cubicBezTo>
                <a:lnTo>
                  <a:pt x="11363814" y="411216"/>
                </a:lnTo>
                <a:cubicBezTo>
                  <a:pt x="11331108" y="411216"/>
                  <a:pt x="11331108" y="389098"/>
                  <a:pt x="11331108" y="374510"/>
                </a:cubicBezTo>
                <a:cubicBezTo>
                  <a:pt x="11331108" y="362981"/>
                  <a:pt x="11334402" y="338981"/>
                  <a:pt x="11369226" y="338981"/>
                </a:cubicBezTo>
                <a:lnTo>
                  <a:pt x="11545932" y="338981"/>
                </a:lnTo>
                <a:lnTo>
                  <a:pt x="11545932" y="297098"/>
                </a:lnTo>
                <a:close/>
                <a:moveTo>
                  <a:pt x="10863343" y="296863"/>
                </a:moveTo>
                <a:lnTo>
                  <a:pt x="10863343" y="572628"/>
                </a:lnTo>
                <a:lnTo>
                  <a:pt x="10913696" y="572628"/>
                </a:lnTo>
                <a:lnTo>
                  <a:pt x="10913696" y="338745"/>
                </a:lnTo>
                <a:lnTo>
                  <a:pt x="11028990" y="338745"/>
                </a:lnTo>
                <a:lnTo>
                  <a:pt x="11028990" y="572628"/>
                </a:lnTo>
                <a:lnTo>
                  <a:pt x="11079578" y="572628"/>
                </a:lnTo>
                <a:lnTo>
                  <a:pt x="11079578" y="338745"/>
                </a:lnTo>
                <a:lnTo>
                  <a:pt x="11156284" y="338745"/>
                </a:lnTo>
                <a:cubicBezTo>
                  <a:pt x="11182167" y="338745"/>
                  <a:pt x="11200520" y="354275"/>
                  <a:pt x="11200520" y="387922"/>
                </a:cubicBezTo>
                <a:lnTo>
                  <a:pt x="11200520" y="572628"/>
                </a:lnTo>
                <a:lnTo>
                  <a:pt x="11250873" y="572628"/>
                </a:lnTo>
                <a:lnTo>
                  <a:pt x="11250873" y="374039"/>
                </a:lnTo>
                <a:cubicBezTo>
                  <a:pt x="11250873" y="336392"/>
                  <a:pt x="11231579" y="296863"/>
                  <a:pt x="11181696" y="296863"/>
                </a:cubicBezTo>
                <a:close/>
                <a:moveTo>
                  <a:pt x="0" y="0"/>
                </a:moveTo>
                <a:lnTo>
                  <a:pt x="12191999" y="0"/>
                </a:lnTo>
                <a:lnTo>
                  <a:pt x="12191999"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20" name="Titel 19">
            <a:extLst>
              <a:ext uri="{FF2B5EF4-FFF2-40B4-BE49-F238E27FC236}">
                <a16:creationId xmlns:a16="http://schemas.microsoft.com/office/drawing/2014/main" id="{6691336D-DEFA-58EA-01B5-FC8DA046D838}"/>
              </a:ext>
            </a:extLst>
          </p:cNvPr>
          <p:cNvSpPr>
            <a:spLocks noGrp="1"/>
          </p:cNvSpPr>
          <p:nvPr>
            <p:ph type="title"/>
          </p:nvPr>
        </p:nvSpPr>
        <p:spPr bwMode="gray">
          <a:xfrm>
            <a:off x="623890" y="620713"/>
            <a:ext cx="5400543" cy="266437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505"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184" name="Fußzeilenplatzhalter 183">
            <a:extLst>
              <a:ext uri="{FF2B5EF4-FFF2-40B4-BE49-F238E27FC236}">
                <a16:creationId xmlns:a16="http://schemas.microsoft.com/office/drawing/2014/main" id="{E82C5B1A-27F8-7211-0276-989824FAA1C1}"/>
              </a:ext>
            </a:extLst>
          </p:cNvPr>
          <p:cNvSpPr>
            <a:spLocks noGrp="1"/>
          </p:cNvSpPr>
          <p:nvPr>
            <p:ph type="ftr" sz="quarter" idx="15"/>
          </p:nvPr>
        </p:nvSpPr>
        <p:spPr/>
        <p:txBody>
          <a:bodyPr/>
          <a:lstStyle>
            <a:lvl1pPr>
              <a:defRPr>
                <a:solidFill>
                  <a:schemeClr val="bg1"/>
                </a:solidFill>
              </a:defRPr>
            </a:lvl1pPr>
          </a:lstStyle>
          <a:p>
            <a:r>
              <a:rPr lang="en-US"/>
              <a:t>© msg systems ag | 2025 | msg Company Presentation</a:t>
            </a:r>
            <a:endParaRPr lang="de-DE"/>
          </a:p>
        </p:txBody>
      </p:sp>
      <p:sp>
        <p:nvSpPr>
          <p:cNvPr id="185" name="Foliennummernplatzhalter 184">
            <a:extLst>
              <a:ext uri="{FF2B5EF4-FFF2-40B4-BE49-F238E27FC236}">
                <a16:creationId xmlns:a16="http://schemas.microsoft.com/office/drawing/2014/main" id="{C691B2D0-53EE-AF04-BBAF-FCE076AC44B4}"/>
              </a:ext>
            </a:extLst>
          </p:cNvPr>
          <p:cNvSpPr>
            <a:spLocks noGrp="1"/>
          </p:cNvSpPr>
          <p:nvPr>
            <p:ph type="sldNum" sz="quarter" idx="16"/>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186" name="Gruppieren 185">
            <a:extLst>
              <a:ext uri="{FF2B5EF4-FFF2-40B4-BE49-F238E27FC236}">
                <a16:creationId xmlns:a16="http://schemas.microsoft.com/office/drawing/2014/main" id="{A5FB2A22-BCE5-7162-28CA-89CC0696AEB2}"/>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87" name="Gerader Verbinder 186">
              <a:extLst>
                <a:ext uri="{FF2B5EF4-FFF2-40B4-BE49-F238E27FC236}">
                  <a16:creationId xmlns:a16="http://schemas.microsoft.com/office/drawing/2014/main" id="{7041D5FA-5FEF-1BB8-AB72-9F37E5C02C1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8" name="Gerader Verbinder 187">
              <a:extLst>
                <a:ext uri="{FF2B5EF4-FFF2-40B4-BE49-F238E27FC236}">
                  <a16:creationId xmlns:a16="http://schemas.microsoft.com/office/drawing/2014/main" id="{AE717BC7-E3C8-DA92-5FDA-981BD85ADB9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D7E86BE0-265C-96E3-85D2-4890E4017F6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0" name="Gerader Verbinder 189">
              <a:extLst>
                <a:ext uri="{FF2B5EF4-FFF2-40B4-BE49-F238E27FC236}">
                  <a16:creationId xmlns:a16="http://schemas.microsoft.com/office/drawing/2014/main" id="{65AC91D6-676A-FCFB-67AE-7496AD2896E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1" name="Gerader Verbinder 190">
              <a:extLst>
                <a:ext uri="{FF2B5EF4-FFF2-40B4-BE49-F238E27FC236}">
                  <a16:creationId xmlns:a16="http://schemas.microsoft.com/office/drawing/2014/main" id="{727D8FC1-B3E6-0E5C-8B89-66E2C3E366E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0E2B846D-D49C-8000-E81A-21DA1631E79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369A8F8-A82A-AB82-EF7D-1DCFE04C6F3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83177ED3-E48D-964D-BDFC-A7C1E5FECFF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5C2AA6AC-8BDD-F576-F366-48EDBF3038C5}"/>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7A8DDA3-8116-AB7A-DB81-A3135137474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8958283E-34B4-A9C4-C2B7-AE455F943BB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8E24D391-E25A-D774-F30C-84428E5B66F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82ECFEA5-F8D5-A65C-D5DF-4AA923F67D8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E61119F1-A205-8424-66DD-DBA74ACBFDB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76621255-92C9-D570-982C-322718348BF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64042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message gelb">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15256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descr="Bild füllt die komplette Folie aus, oben links Keymessage und Untertitel. Das Bild zeigt eine gelbe Wellenstruktur.">
            <a:extLst>
              <a:ext uri="{FF2B5EF4-FFF2-40B4-BE49-F238E27FC236}">
                <a16:creationId xmlns:a16="http://schemas.microsoft.com/office/drawing/2014/main" id="{5954209D-6538-1F59-7CA1-C53125F44D8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0" y="0"/>
            <a:ext cx="12192000" cy="6857999"/>
          </a:xfrm>
          <a:prstGeom prst="rect">
            <a:avLst/>
          </a:prstGeom>
        </p:spPr>
      </p:pic>
      <p:sp>
        <p:nvSpPr>
          <p:cNvPr id="5" name="Titel 4">
            <a:extLst>
              <a:ext uri="{FF2B5EF4-FFF2-40B4-BE49-F238E27FC236}">
                <a16:creationId xmlns:a16="http://schemas.microsoft.com/office/drawing/2014/main" id="{99C42C62-481A-C70F-8CB4-2E9CD95967AB}"/>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185" name="Fußzeilenplatzhalter 184">
            <a:extLst>
              <a:ext uri="{FF2B5EF4-FFF2-40B4-BE49-F238E27FC236}">
                <a16:creationId xmlns:a16="http://schemas.microsoft.com/office/drawing/2014/main" id="{14FDEAE1-4FB5-4A33-FE6C-40E5A50F09AC}"/>
              </a:ext>
            </a:extLst>
          </p:cNvPr>
          <p:cNvSpPr>
            <a:spLocks noGrp="1"/>
          </p:cNvSpPr>
          <p:nvPr>
            <p:ph type="ftr" sz="quarter" idx="13"/>
          </p:nvPr>
        </p:nvSpPr>
        <p:spPr/>
        <p:txBody>
          <a:bodyPr/>
          <a:lstStyle>
            <a:lvl1pPr>
              <a:defRPr>
                <a:solidFill>
                  <a:schemeClr val="bg1"/>
                </a:solidFill>
              </a:defRPr>
            </a:lvl1pPr>
          </a:lstStyle>
          <a:p>
            <a:r>
              <a:rPr lang="en-US"/>
              <a:t>© msg systems ag | 2025 | msg Company Presentation</a:t>
            </a:r>
            <a:endParaRPr lang="de-DE"/>
          </a:p>
        </p:txBody>
      </p:sp>
      <p:sp>
        <p:nvSpPr>
          <p:cNvPr id="186" name="Foliennummernplatzhalter 185">
            <a:extLst>
              <a:ext uri="{FF2B5EF4-FFF2-40B4-BE49-F238E27FC236}">
                <a16:creationId xmlns:a16="http://schemas.microsoft.com/office/drawing/2014/main" id="{42679077-A045-2B6D-7D97-2CABB7B3F0CC}"/>
              </a:ext>
            </a:extLst>
          </p:cNvPr>
          <p:cNvSpPr>
            <a:spLocks noGrp="1"/>
          </p:cNvSpPr>
          <p:nvPr>
            <p:ph type="sldNum" sz="quarter" idx="14"/>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1335795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message grü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12342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descr="Bild füllt die komplette Folie aus, oben links Keymessage und Untertitel. Das Bild zeigt eine grüne Wellenstruktur.">
            <a:extLst>
              <a:ext uri="{FF2B5EF4-FFF2-40B4-BE49-F238E27FC236}">
                <a16:creationId xmlns:a16="http://schemas.microsoft.com/office/drawing/2014/main" id="{E435F2FA-DC13-0092-B7C8-6FE9692BEBE8}"/>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a:off x="0" y="0"/>
            <a:ext cx="12192000" cy="6857999"/>
          </a:xfrm>
          <a:prstGeom prst="rect">
            <a:avLst/>
          </a:prstGeom>
        </p:spPr>
      </p:pic>
      <p:sp>
        <p:nvSpPr>
          <p:cNvPr id="5" name="Titel 4">
            <a:extLst>
              <a:ext uri="{FF2B5EF4-FFF2-40B4-BE49-F238E27FC236}">
                <a16:creationId xmlns:a16="http://schemas.microsoft.com/office/drawing/2014/main" id="{87F750BD-576D-BAF4-908D-604465D3B9C5}"/>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2" name="Fußzeilenplatzhalter 1">
            <a:extLst>
              <a:ext uri="{FF2B5EF4-FFF2-40B4-BE49-F238E27FC236}">
                <a16:creationId xmlns:a16="http://schemas.microsoft.com/office/drawing/2014/main" id="{A7C5717B-FE45-5028-C429-89AA2A8A9A67}"/>
              </a:ext>
            </a:extLst>
          </p:cNvPr>
          <p:cNvSpPr>
            <a:spLocks noGrp="1"/>
          </p:cNvSpPr>
          <p:nvPr>
            <p:ph type="ftr" sz="quarter" idx="13"/>
          </p:nvPr>
        </p:nvSpPr>
        <p:spPr/>
        <p:txBody>
          <a:bodyPr/>
          <a:lstStyle>
            <a:lvl1pPr>
              <a:defRPr>
                <a:solidFill>
                  <a:schemeClr val="bg1"/>
                </a:solidFill>
              </a:defRPr>
            </a:lvl1pPr>
          </a:lstStyle>
          <a:p>
            <a:r>
              <a:rPr lang="en-US"/>
              <a:t>© msg systems ag | 2025 | msg Company Presentation</a:t>
            </a:r>
            <a:endParaRPr lang="de-DE"/>
          </a:p>
        </p:txBody>
      </p:sp>
      <p:sp>
        <p:nvSpPr>
          <p:cNvPr id="3" name="Foliennummernplatzhalter 2">
            <a:extLst>
              <a:ext uri="{FF2B5EF4-FFF2-40B4-BE49-F238E27FC236}">
                <a16:creationId xmlns:a16="http://schemas.microsoft.com/office/drawing/2014/main" id="{4927A4AD-3F3C-C3F6-A92B-5F47DB26DDEB}"/>
              </a:ext>
            </a:extLst>
          </p:cNvPr>
          <p:cNvSpPr>
            <a:spLocks noGrp="1"/>
          </p:cNvSpPr>
          <p:nvPr>
            <p:ph type="sldNum" sz="quarter" idx="14"/>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5198685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message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99566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1487551" y="1525591"/>
            <a:ext cx="8425277"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1487552" y="2205196"/>
            <a:ext cx="8425282" cy="1727824"/>
          </a:xfrm>
        </p:spPr>
        <p:txBody>
          <a:bodyPr vert="horz"/>
          <a:lstStyle>
            <a:lvl1pPr rtl="0">
              <a:defRPr sz="3600"/>
            </a:lvl1pPr>
          </a:lstStyle>
          <a:p>
            <a:r>
              <a:rPr lang="de-DE"/>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5" name="Grafik 4">
            <a:extLst>
              <a:ext uri="{FF2B5EF4-FFF2-40B4-BE49-F238E27FC236}">
                <a16:creationId xmlns:a16="http://schemas.microsoft.com/office/drawing/2014/main" id="{A4F61372-4ED9-3EC9-9A1A-23EB86758932}"/>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grpSp>
        <p:nvGrpSpPr>
          <p:cNvPr id="11" name="Gruppieren 10">
            <a:extLst>
              <a:ext uri="{FF2B5EF4-FFF2-40B4-BE49-F238E27FC236}">
                <a16:creationId xmlns:a16="http://schemas.microsoft.com/office/drawing/2014/main" id="{5AB6250B-1B13-4A44-B5BA-119DF7713C6E}"/>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3" name="Gerader Verbinder 12">
              <a:extLst>
                <a:ext uri="{FF2B5EF4-FFF2-40B4-BE49-F238E27FC236}">
                  <a16:creationId xmlns:a16="http://schemas.microsoft.com/office/drawing/2014/main" id="{BB4B0D50-99FA-FE97-61A1-0CAE8407E4CB}"/>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08B9671-F1E6-E243-8847-2DEC4618B107}"/>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E106CDD9-2B97-9752-65F3-F46A524B406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4" name="Gerader Verbinder 23">
              <a:extLst>
                <a:ext uri="{FF2B5EF4-FFF2-40B4-BE49-F238E27FC236}">
                  <a16:creationId xmlns:a16="http://schemas.microsoft.com/office/drawing/2014/main" id="{19ECEAE7-6ED9-AF3D-79EC-721F080B817E}"/>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F48AA1BB-3ADA-0EAB-ED40-E1363AD7E54A}"/>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3" name="Grafik 2">
            <a:extLst>
              <a:ext uri="{FF2B5EF4-FFF2-40B4-BE49-F238E27FC236}">
                <a16:creationId xmlns:a16="http://schemas.microsoft.com/office/drawing/2014/main" id="{7DC58F1E-22AF-9967-0952-5490BEC87E2B}"/>
              </a:ext>
              <a:ext uri="{C183D7F6-B498-43B3-948B-1728B52AA6E4}">
                <adec:decorative xmlns:adec="http://schemas.microsoft.com/office/drawing/2017/decorative" val="1"/>
              </a:ext>
            </a:extLst>
          </p:cNvPr>
          <p:cNvPicPr>
            <a:picLocks/>
          </p:cNvPicPr>
          <p:nvPr userDrawn="1"/>
        </p:nvPicPr>
        <p:blipFill rotWithShape="1">
          <a:blip r:embed="rId6">
            <a:extLst>
              <a:ext uri="{28A0092B-C50C-407E-A947-70E740481C1C}">
                <a14:useLocalDpi xmlns:a14="http://schemas.microsoft.com/office/drawing/2010/main" val="0"/>
              </a:ext>
            </a:extLst>
          </a:blip>
          <a:srcRect/>
          <a:stretch/>
        </p:blipFill>
        <p:spPr bwMode="gray">
          <a:xfrm>
            <a:off x="1487552" y="1972976"/>
            <a:ext cx="1202053" cy="57600"/>
          </a:xfrm>
          <a:prstGeom prst="rect">
            <a:avLst/>
          </a:prstGeom>
        </p:spPr>
      </p:pic>
      <p:grpSp>
        <p:nvGrpSpPr>
          <p:cNvPr id="191" name="Gruppieren 190">
            <a:extLst>
              <a:ext uri="{FF2B5EF4-FFF2-40B4-BE49-F238E27FC236}">
                <a16:creationId xmlns:a16="http://schemas.microsoft.com/office/drawing/2014/main" id="{32D0DC10-EFFF-3ADC-EFA9-4B2BAB534A7A}"/>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2" name="Gerader Verbinder 191">
              <a:extLst>
                <a:ext uri="{FF2B5EF4-FFF2-40B4-BE49-F238E27FC236}">
                  <a16:creationId xmlns:a16="http://schemas.microsoft.com/office/drawing/2014/main" id="{05FBF4CD-0528-38C2-FBFF-04ECF5F929F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40408BFA-CCF4-DB3F-4F95-BE35697FBFC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B65E39BF-EFF7-10AD-45A8-23EF49738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1CC4D524-0461-747A-2770-4B9590FE34A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474FC839-3017-DFC9-B32A-D59FD55B0AF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3AE5C23D-21FA-6144-BF9A-B1E96C50FF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FF3B812-B74A-9B6E-AFAB-DEE38C414CF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9" name="Gruppieren 198">
            <a:extLst>
              <a:ext uri="{FF2B5EF4-FFF2-40B4-BE49-F238E27FC236}">
                <a16:creationId xmlns:a16="http://schemas.microsoft.com/office/drawing/2014/main" id="{C8AF24E2-DAE6-9BE8-86B3-D12747F4D55F}"/>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0" name="Gerader Verbinder 199">
              <a:extLst>
                <a:ext uri="{FF2B5EF4-FFF2-40B4-BE49-F238E27FC236}">
                  <a16:creationId xmlns:a16="http://schemas.microsoft.com/office/drawing/2014/main" id="{1A9C1CCE-0333-8648-6C84-90812B4AD89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DF9F53EF-A455-FBA8-EDE1-AADCF1077F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74AC9BA-60C3-A7FC-97EF-58FD817CF51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3801C69D-2429-82B4-35BA-3554900A9C5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404AC6CD-3611-9EC3-34AF-9FFA8827D4B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896204E-D3C8-BDC5-5EF9-31819A72B1D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A55EBB46-709E-2AB6-C615-EAFE29AC6CD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9065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74219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8" name="Grafik 107" descr="Bild mit grüner Wellenstruktur füllt 1/3 der Folie aus, darauf die Anschrift der msg systems ag und die Logos von X, Linkedin, Facebook, Instagram und Whatsapp. Links der Titel und bis zu 8 Kontaktpersonen mit Bild.">
            <a:extLst>
              <a:ext uri="{FF2B5EF4-FFF2-40B4-BE49-F238E27FC236}">
                <a16:creationId xmlns:a16="http://schemas.microsoft.com/office/drawing/2014/main" id="{AE4C995B-DFDC-78DF-ACE7-74EE29C3B8FF}"/>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3FB3FC25-F432-5096-1B3C-2356EF2C50CD}"/>
              </a:ext>
            </a:extLst>
          </p:cNvPr>
          <p:cNvSpPr>
            <a:spLocks noGrp="1"/>
          </p:cNvSpPr>
          <p:nvPr userDrawn="1">
            <p:ph type="title"/>
          </p:nvPr>
        </p:nvSpPr>
        <p:spPr bwMode="gray">
          <a:xfrm>
            <a:off x="623889" y="620713"/>
            <a:ext cx="6910386" cy="738664"/>
          </a:xfrm>
        </p:spPr>
        <p:txBody>
          <a:bodyPr vert="horz"/>
          <a:lstStyle/>
          <a:p>
            <a:r>
              <a:rPr lang="de-DE"/>
              <a:t>Mastertitelformat bearbeiten</a:t>
            </a:r>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userDrawn="1">
            <p:ph type="pic" sz="quarter" idx="12" hasCustomPrompt="1"/>
          </p:nvPr>
        </p:nvSpPr>
        <p:spPr bwMode="gray">
          <a:xfrm>
            <a:off x="623888" y="2203994"/>
            <a:ext cx="648000" cy="648000"/>
          </a:xfrm>
          <a:prstGeom prst="ellipse">
            <a:avLst/>
          </a:prstGeom>
          <a:solidFill>
            <a:schemeClr val="bg2"/>
          </a:solidFill>
        </p:spPr>
        <p:txBody>
          <a:bodyPr>
            <a:noAutofit/>
          </a:bodyPr>
          <a:lstStyle>
            <a:lvl1pPr rtl="0">
              <a:defRPr sz="1000">
                <a:solidFill>
                  <a:schemeClr val="tx1"/>
                </a:solidFill>
              </a:defRPr>
            </a:lvl1pPr>
          </a:lstStyle>
          <a:p>
            <a:r>
              <a:rPr lang="de-DE"/>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userDrawn="1">
            <p:ph type="body" sz="quarter" idx="20"/>
          </p:nvPr>
        </p:nvSpPr>
        <p:spPr bwMode="gray">
          <a:xfrm>
            <a:off x="1485234" y="2204063"/>
            <a:ext cx="2376310"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userDrawn="1">
            <p:ph type="pic" sz="quarter" idx="13" hasCustomPrompt="1"/>
          </p:nvPr>
        </p:nvSpPr>
        <p:spPr bwMode="gray">
          <a:xfrm>
            <a:off x="623887"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2" name="Textplatzhalter 41">
            <a:extLst>
              <a:ext uri="{FF2B5EF4-FFF2-40B4-BE49-F238E27FC236}">
                <a16:creationId xmlns:a16="http://schemas.microsoft.com/office/drawing/2014/main" id="{7DD5731B-8B22-6B97-9772-427E558C5370}"/>
              </a:ext>
            </a:extLst>
          </p:cNvPr>
          <p:cNvSpPr>
            <a:spLocks noGrp="1"/>
          </p:cNvSpPr>
          <p:nvPr userDrawn="1">
            <p:ph type="body" sz="quarter" idx="21"/>
          </p:nvPr>
        </p:nvSpPr>
        <p:spPr bwMode="gray">
          <a:xfrm>
            <a:off x="1485234" y="3067980"/>
            <a:ext cx="2376310"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0" name="Bildplatzhalter 19">
            <a:extLst>
              <a:ext uri="{FF2B5EF4-FFF2-40B4-BE49-F238E27FC236}">
                <a16:creationId xmlns:a16="http://schemas.microsoft.com/office/drawing/2014/main" id="{41E7DC1D-D4D8-70D3-57D0-038CEA0BFD1E}"/>
              </a:ext>
              <a:ext uri="{C183D7F6-B498-43B3-948B-1728B52AA6E4}">
                <adec:decorative xmlns:adec="http://schemas.microsoft.com/office/drawing/2017/decorative" val="0"/>
              </a:ext>
            </a:extLst>
          </p:cNvPr>
          <p:cNvSpPr>
            <a:spLocks noGrp="1"/>
          </p:cNvSpPr>
          <p:nvPr userDrawn="1">
            <p:ph type="pic" sz="quarter" idx="14" hasCustomPrompt="1"/>
          </p:nvPr>
        </p:nvSpPr>
        <p:spPr bwMode="gray">
          <a:xfrm>
            <a:off x="62388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4" name="Textplatzhalter 43">
            <a:extLst>
              <a:ext uri="{FF2B5EF4-FFF2-40B4-BE49-F238E27FC236}">
                <a16:creationId xmlns:a16="http://schemas.microsoft.com/office/drawing/2014/main" id="{9F56ED74-2FA8-BCC2-B137-E35B01E4CD6A}"/>
              </a:ext>
            </a:extLst>
          </p:cNvPr>
          <p:cNvSpPr>
            <a:spLocks noGrp="1"/>
          </p:cNvSpPr>
          <p:nvPr userDrawn="1">
            <p:ph type="body" sz="quarter" idx="22"/>
          </p:nvPr>
        </p:nvSpPr>
        <p:spPr bwMode="gray">
          <a:xfrm>
            <a:off x="1485234" y="3931821"/>
            <a:ext cx="2376310"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2" name="Bildplatzhalter 21">
            <a:extLst>
              <a:ext uri="{FF2B5EF4-FFF2-40B4-BE49-F238E27FC236}">
                <a16:creationId xmlns:a16="http://schemas.microsoft.com/office/drawing/2014/main" id="{C37E5E02-DA17-49AB-C218-66F45292B9EE}"/>
              </a:ext>
              <a:ext uri="{C183D7F6-B498-43B3-948B-1728B52AA6E4}">
                <adec:decorative xmlns:adec="http://schemas.microsoft.com/office/drawing/2017/decorative" val="0"/>
              </a:ext>
            </a:extLst>
          </p:cNvPr>
          <p:cNvSpPr>
            <a:spLocks noGrp="1"/>
          </p:cNvSpPr>
          <p:nvPr userDrawn="1">
            <p:ph type="pic" sz="quarter" idx="15" hasCustomPrompt="1"/>
          </p:nvPr>
        </p:nvSpPr>
        <p:spPr bwMode="gray">
          <a:xfrm>
            <a:off x="623887"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6" name="Textplatzhalter 45">
            <a:extLst>
              <a:ext uri="{FF2B5EF4-FFF2-40B4-BE49-F238E27FC236}">
                <a16:creationId xmlns:a16="http://schemas.microsoft.com/office/drawing/2014/main" id="{3B5F6881-B4A7-C6CF-7F85-125FFCEA1F14}"/>
              </a:ext>
            </a:extLst>
          </p:cNvPr>
          <p:cNvSpPr>
            <a:spLocks noGrp="1"/>
          </p:cNvSpPr>
          <p:nvPr userDrawn="1">
            <p:ph type="body" sz="quarter" idx="23"/>
          </p:nvPr>
        </p:nvSpPr>
        <p:spPr bwMode="gray">
          <a:xfrm>
            <a:off x="1485234" y="4796393"/>
            <a:ext cx="2376310"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4" name="Bildplatzhalter 23">
            <a:extLst>
              <a:ext uri="{FF2B5EF4-FFF2-40B4-BE49-F238E27FC236}">
                <a16:creationId xmlns:a16="http://schemas.microsoft.com/office/drawing/2014/main" id="{85424A3E-3384-D84B-08BC-CD36882B0B85}"/>
              </a:ext>
              <a:ext uri="{C183D7F6-B498-43B3-948B-1728B52AA6E4}">
                <adec:decorative xmlns:adec="http://schemas.microsoft.com/office/drawing/2017/decorative" val="0"/>
              </a:ext>
            </a:extLst>
          </p:cNvPr>
          <p:cNvSpPr>
            <a:spLocks noGrp="1"/>
          </p:cNvSpPr>
          <p:nvPr userDrawn="1">
            <p:ph type="pic" sz="quarter" idx="16" hasCustomPrompt="1"/>
          </p:nvPr>
        </p:nvSpPr>
        <p:spPr bwMode="gray">
          <a:xfrm>
            <a:off x="4295838" y="2203994"/>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8" name="Textplatzhalter 47">
            <a:extLst>
              <a:ext uri="{FF2B5EF4-FFF2-40B4-BE49-F238E27FC236}">
                <a16:creationId xmlns:a16="http://schemas.microsoft.com/office/drawing/2014/main" id="{FB66BA4C-7DC0-AC8B-2142-7292266FAAD3}"/>
              </a:ext>
            </a:extLst>
          </p:cNvPr>
          <p:cNvSpPr>
            <a:spLocks noGrp="1"/>
          </p:cNvSpPr>
          <p:nvPr userDrawn="1">
            <p:ph type="body" sz="quarter" idx="24"/>
          </p:nvPr>
        </p:nvSpPr>
        <p:spPr bwMode="gray">
          <a:xfrm>
            <a:off x="5163026" y="2204063"/>
            <a:ext cx="2371249"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6" name="Bildplatzhalter 25">
            <a:extLst>
              <a:ext uri="{FF2B5EF4-FFF2-40B4-BE49-F238E27FC236}">
                <a16:creationId xmlns:a16="http://schemas.microsoft.com/office/drawing/2014/main" id="{B694C1FC-EE32-3B77-9E33-C4ED7A2D6593}"/>
              </a:ext>
              <a:ext uri="{C183D7F6-B498-43B3-948B-1728B52AA6E4}">
                <adec:decorative xmlns:adec="http://schemas.microsoft.com/office/drawing/2017/decorative" val="0"/>
              </a:ext>
            </a:extLst>
          </p:cNvPr>
          <p:cNvSpPr>
            <a:spLocks noGrp="1"/>
          </p:cNvSpPr>
          <p:nvPr userDrawn="1">
            <p:ph type="pic" sz="quarter" idx="17" hasCustomPrompt="1"/>
          </p:nvPr>
        </p:nvSpPr>
        <p:spPr bwMode="gray">
          <a:xfrm>
            <a:off x="4295838"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0" name="Textplatzhalter 49">
            <a:extLst>
              <a:ext uri="{FF2B5EF4-FFF2-40B4-BE49-F238E27FC236}">
                <a16:creationId xmlns:a16="http://schemas.microsoft.com/office/drawing/2014/main" id="{5B367049-C360-CF5F-A663-C8CA4DAAAF7C}"/>
              </a:ext>
            </a:extLst>
          </p:cNvPr>
          <p:cNvSpPr>
            <a:spLocks noGrp="1"/>
          </p:cNvSpPr>
          <p:nvPr userDrawn="1">
            <p:ph type="body" sz="quarter" idx="25"/>
          </p:nvPr>
        </p:nvSpPr>
        <p:spPr bwMode="gray">
          <a:xfrm>
            <a:off x="5163026" y="3067980"/>
            <a:ext cx="2371249"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8" name="Bildplatzhalter 27">
            <a:extLst>
              <a:ext uri="{FF2B5EF4-FFF2-40B4-BE49-F238E27FC236}">
                <a16:creationId xmlns:a16="http://schemas.microsoft.com/office/drawing/2014/main" id="{E4C3A348-4B8D-20F5-F1D5-D1C99235C7B5}"/>
              </a:ext>
              <a:ext uri="{C183D7F6-B498-43B3-948B-1728B52AA6E4}">
                <adec:decorative xmlns:adec="http://schemas.microsoft.com/office/drawing/2017/decorative" val="0"/>
              </a:ext>
            </a:extLst>
          </p:cNvPr>
          <p:cNvSpPr>
            <a:spLocks noGrp="1"/>
          </p:cNvSpPr>
          <p:nvPr userDrawn="1">
            <p:ph type="pic" sz="quarter" idx="18" hasCustomPrompt="1"/>
          </p:nvPr>
        </p:nvSpPr>
        <p:spPr bwMode="gray">
          <a:xfrm>
            <a:off x="429583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2" name="Textplatzhalter 51">
            <a:extLst>
              <a:ext uri="{FF2B5EF4-FFF2-40B4-BE49-F238E27FC236}">
                <a16:creationId xmlns:a16="http://schemas.microsoft.com/office/drawing/2014/main" id="{84B8B000-804A-CCD9-B993-C2AF922F74FD}"/>
              </a:ext>
            </a:extLst>
          </p:cNvPr>
          <p:cNvSpPr>
            <a:spLocks noGrp="1"/>
          </p:cNvSpPr>
          <p:nvPr userDrawn="1">
            <p:ph type="body" sz="quarter" idx="26"/>
          </p:nvPr>
        </p:nvSpPr>
        <p:spPr bwMode="gray">
          <a:xfrm>
            <a:off x="5163026" y="3931821"/>
            <a:ext cx="2371249"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30" name="Bildplatzhalter 29">
            <a:extLst>
              <a:ext uri="{FF2B5EF4-FFF2-40B4-BE49-F238E27FC236}">
                <a16:creationId xmlns:a16="http://schemas.microsoft.com/office/drawing/2014/main" id="{6025AF6B-626B-4CA2-042A-DA2046F619FD}"/>
              </a:ext>
              <a:ext uri="{C183D7F6-B498-43B3-948B-1728B52AA6E4}">
                <adec:decorative xmlns:adec="http://schemas.microsoft.com/office/drawing/2017/decorative" val="0"/>
              </a:ext>
            </a:extLst>
          </p:cNvPr>
          <p:cNvSpPr>
            <a:spLocks noGrp="1"/>
          </p:cNvSpPr>
          <p:nvPr userDrawn="1">
            <p:ph type="pic" sz="quarter" idx="19" hasCustomPrompt="1"/>
          </p:nvPr>
        </p:nvSpPr>
        <p:spPr bwMode="gray">
          <a:xfrm>
            <a:off x="4295838"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4" name="Textplatzhalter 53">
            <a:extLst>
              <a:ext uri="{FF2B5EF4-FFF2-40B4-BE49-F238E27FC236}">
                <a16:creationId xmlns:a16="http://schemas.microsoft.com/office/drawing/2014/main" id="{341F0D25-3E25-0B0C-6298-66A649CC88F9}"/>
              </a:ext>
            </a:extLst>
          </p:cNvPr>
          <p:cNvSpPr>
            <a:spLocks noGrp="1"/>
          </p:cNvSpPr>
          <p:nvPr userDrawn="1">
            <p:ph type="body" sz="quarter" idx="27"/>
          </p:nvPr>
        </p:nvSpPr>
        <p:spPr bwMode="gray">
          <a:xfrm>
            <a:off x="5163026" y="4796393"/>
            <a:ext cx="2371249"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109" name="Grafik 108">
            <a:extLst>
              <a:ext uri="{FF2B5EF4-FFF2-40B4-BE49-F238E27FC236}">
                <a16:creationId xmlns:a16="http://schemas.microsoft.com/office/drawing/2014/main" id="{95A77FFF-0C7A-736B-B0F9-483B7AB9DE1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68" name="Gruppieren 67">
            <a:extLst>
              <a:ext uri="{FF2B5EF4-FFF2-40B4-BE49-F238E27FC236}">
                <a16:creationId xmlns:a16="http://schemas.microsoft.com/office/drawing/2014/main" id="{0D39DC80-40B4-A897-FB43-D17636078471}"/>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9" name="Gerader Verbinder 68">
              <a:extLst>
                <a:ext uri="{FF2B5EF4-FFF2-40B4-BE49-F238E27FC236}">
                  <a16:creationId xmlns:a16="http://schemas.microsoft.com/office/drawing/2014/main" id="{09FCE521-5BC2-D2CE-9900-34EAAF61DF69}"/>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57F8D318-538F-315E-0A08-9D0800DC249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13ED8E3C-0E50-16E3-C002-BE85A65CE5D3}"/>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8" name="Gerader Verbinder 57">
              <a:extLst>
                <a:ext uri="{FF2B5EF4-FFF2-40B4-BE49-F238E27FC236}">
                  <a16:creationId xmlns:a16="http://schemas.microsoft.com/office/drawing/2014/main" id="{01F7DC44-65A7-F09D-9459-CADC3A107E4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A984471-5282-1347-7793-6BE7EAFFCA9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1" name="Titel 11">
            <a:extLst>
              <a:ext uri="{FF2B5EF4-FFF2-40B4-BE49-F238E27FC236}">
                <a16:creationId xmlns:a16="http://schemas.microsoft.com/office/drawing/2014/main" id="{AA111270-B5D0-9002-B12D-7638901707CC}"/>
              </a:ext>
            </a:extLst>
          </p:cNvPr>
          <p:cNvSpPr txBox="1">
            <a:spLocks/>
          </p:cNvSpPr>
          <p:nvPr userDrawn="1"/>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err="1">
                <a:latin typeface="+mj-lt"/>
              </a:rPr>
              <a:t>msg</a:t>
            </a:r>
            <a:r>
              <a:rPr lang="de-DE" sz="1100" b="1">
                <a:latin typeface="+mj-lt"/>
              </a:rPr>
              <a:t> </a:t>
            </a:r>
            <a:r>
              <a:rPr lang="de-DE" sz="1100" b="1" err="1">
                <a:latin typeface="+mj-lt"/>
              </a:rPr>
              <a:t>systems</a:t>
            </a:r>
            <a:r>
              <a:rPr lang="de-DE" sz="1100" b="1">
                <a:latin typeface="+mj-lt"/>
              </a:rPr>
              <a:t> AG </a:t>
            </a:r>
            <a:br>
              <a:rPr lang="de-DE" sz="1100"/>
            </a:br>
            <a:r>
              <a:rPr lang="de-DE" sz="1100"/>
              <a:t>Robert-Bürkle-Straße 1</a:t>
            </a:r>
            <a:br>
              <a:rPr lang="de-DE" sz="1100"/>
            </a:br>
            <a:r>
              <a:rPr lang="de-DE" sz="1100"/>
              <a:t>85737 Ismaning</a:t>
            </a:r>
          </a:p>
          <a:p>
            <a:pPr>
              <a:spcAft>
                <a:spcPts val="600"/>
              </a:spcAft>
            </a:pPr>
            <a:r>
              <a:rPr lang="de-DE" sz="1100"/>
              <a:t>+49 89 96101-0</a:t>
            </a:r>
            <a:br>
              <a:rPr lang="de-DE" sz="1100"/>
            </a:br>
            <a:r>
              <a:rPr lang="de-DE" sz="1100"/>
              <a:t>+49 89 96101-​1113</a:t>
            </a:r>
          </a:p>
          <a:p>
            <a:pPr>
              <a:spcAft>
                <a:spcPts val="600"/>
              </a:spcAft>
            </a:pPr>
            <a:r>
              <a:rPr lang="de-DE" sz="1100" err="1"/>
              <a:t>info@msg.group</a:t>
            </a:r>
            <a:endParaRPr lang="de-DE" sz="1100"/>
          </a:p>
        </p:txBody>
      </p:sp>
      <p:sp>
        <p:nvSpPr>
          <p:cNvPr id="12" name="Freihandform: Form 11" descr="Logo von X.">
            <a:extLst>
              <a:ext uri="{FF2B5EF4-FFF2-40B4-BE49-F238E27FC236}">
                <a16:creationId xmlns:a16="http://schemas.microsoft.com/office/drawing/2014/main" id="{3BB894A3-B6FD-18A7-EC25-BFE01C097D69}"/>
              </a:ext>
            </a:extLst>
          </p:cNvPr>
          <p:cNvSpPr>
            <a:spLocks/>
          </p:cNvSpPr>
          <p:nvPr userDrawn="1"/>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13" name="Freihandform: Form 12" descr="Logo von LinkedIn.">
            <a:extLst>
              <a:ext uri="{FF2B5EF4-FFF2-40B4-BE49-F238E27FC236}">
                <a16:creationId xmlns:a16="http://schemas.microsoft.com/office/drawing/2014/main" id="{39D4E64A-970E-DED5-5D77-66AF2414DD09}"/>
              </a:ext>
            </a:extLst>
          </p:cNvPr>
          <p:cNvSpPr>
            <a:spLocks/>
          </p:cNvSpPr>
          <p:nvPr userDrawn="1"/>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14" name="Freihandform: Form 13" descr="Logo von Facebook.">
            <a:extLst>
              <a:ext uri="{FF2B5EF4-FFF2-40B4-BE49-F238E27FC236}">
                <a16:creationId xmlns:a16="http://schemas.microsoft.com/office/drawing/2014/main" id="{01AFCAD3-6E78-7034-9BFF-E12CE1B3514A}"/>
              </a:ext>
            </a:extLst>
          </p:cNvPr>
          <p:cNvSpPr>
            <a:spLocks/>
          </p:cNvSpPr>
          <p:nvPr userDrawn="1"/>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15" name="Freihandform: Form 14" descr="Logo von Instagram.">
            <a:extLst>
              <a:ext uri="{FF2B5EF4-FFF2-40B4-BE49-F238E27FC236}">
                <a16:creationId xmlns:a16="http://schemas.microsoft.com/office/drawing/2014/main" id="{D18DDA4A-2864-5F46-9765-7F4E4DB5B24F}"/>
              </a:ext>
            </a:extLst>
          </p:cNvPr>
          <p:cNvSpPr>
            <a:spLocks/>
          </p:cNvSpPr>
          <p:nvPr userDrawn="1"/>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7" name="Freihandform: Form 16" descr="Logo von WhatsApp.">
            <a:extLst>
              <a:ext uri="{FF2B5EF4-FFF2-40B4-BE49-F238E27FC236}">
                <a16:creationId xmlns:a16="http://schemas.microsoft.com/office/drawing/2014/main" id="{DA4AF295-723C-6E97-FABD-A35A0E40766A}"/>
              </a:ext>
            </a:extLst>
          </p:cNvPr>
          <p:cNvSpPr>
            <a:spLocks/>
          </p:cNvSpPr>
          <p:nvPr userDrawn="1"/>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userDrawn="1">
            <p:ph type="ftr" sz="quarter" idx="10"/>
          </p:nvPr>
        </p:nvSpPr>
        <p:spPr bwMode="gray"/>
        <p:txBody>
          <a:bodyPr>
            <a:noAutofit/>
          </a:bodyPr>
          <a:lstStyle>
            <a:lvl1pPr rtl="0">
              <a:defRPr>
                <a:solidFill>
                  <a:schemeClr val="tx1"/>
                </a:solidFill>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userDrawn="1">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13916550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25881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fik 16" descr="Bild mit grüner Wellenstruktur füllt 1/3 der Folie aus, darauf die Anschrift der msg systems ag und die Logos von X, Linkedin, Facebook, Instagram und Whatsapp. Links der Titel und bis zu 2 Kontaktpersonen mit Bild.">
            <a:extLst>
              <a:ext uri="{FF2B5EF4-FFF2-40B4-BE49-F238E27FC236}">
                <a16:creationId xmlns:a16="http://schemas.microsoft.com/office/drawing/2014/main" id="{2C46E2E2-FAAD-8778-F409-FE935D426992}"/>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67B2DF5E-A3CA-9898-6D8E-0DBB2CA2736F}"/>
              </a:ext>
            </a:extLst>
          </p:cNvPr>
          <p:cNvSpPr>
            <a:spLocks noGrp="1"/>
          </p:cNvSpPr>
          <p:nvPr>
            <p:ph type="title"/>
          </p:nvPr>
        </p:nvSpPr>
        <p:spPr bwMode="gray">
          <a:xfrm>
            <a:off x="623889" y="620713"/>
            <a:ext cx="6912280" cy="738664"/>
          </a:xfrm>
        </p:spPr>
        <p:txBody>
          <a:bodyPr vert="horz"/>
          <a:lstStyle/>
          <a:p>
            <a:r>
              <a:rPr lang="de-DE"/>
              <a:t>Mastertitelformat bearbeiten</a:t>
            </a:r>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p:ph type="pic" sz="quarter" idx="12" hasCustomPrompt="1"/>
          </p:nvPr>
        </p:nvSpPr>
        <p:spPr bwMode="gray">
          <a:xfrm>
            <a:off x="623890"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r>
              <a:rPr lang="de-DE"/>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623889" y="3720129"/>
            <a:ext cx="3251820"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p:ph type="pic" sz="quarter" idx="13" hasCustomPrompt="1"/>
          </p:nvPr>
        </p:nvSpPr>
        <p:spPr bwMode="gray">
          <a:xfrm>
            <a:off x="4305078"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4305077" y="3720129"/>
            <a:ext cx="3231091"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61" name="Grafik 60">
            <a:extLst>
              <a:ext uri="{FF2B5EF4-FFF2-40B4-BE49-F238E27FC236}">
                <a16:creationId xmlns:a16="http://schemas.microsoft.com/office/drawing/2014/main" id="{3B3717A0-5228-5D82-B8DF-3B2F9751835B}"/>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27" name="Gruppieren 26">
            <a:extLst>
              <a:ext uri="{FF2B5EF4-FFF2-40B4-BE49-F238E27FC236}">
                <a16:creationId xmlns:a16="http://schemas.microsoft.com/office/drawing/2014/main" id="{D004AE93-6883-EEA0-5811-9F1FA9B7B87D}"/>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29" name="Gerader Verbinder 28">
              <a:extLst>
                <a:ext uri="{FF2B5EF4-FFF2-40B4-BE49-F238E27FC236}">
                  <a16:creationId xmlns:a16="http://schemas.microsoft.com/office/drawing/2014/main" id="{4113D0DE-D42C-0AC8-9E6D-28DBA70BB5E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2C91D47-E966-3E11-5309-F6092AD08C9F}"/>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CF6C7B07-4851-0848-015E-0F064A497590}"/>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43" name="Gerader Verbinder 42">
              <a:extLst>
                <a:ext uri="{FF2B5EF4-FFF2-40B4-BE49-F238E27FC236}">
                  <a16:creationId xmlns:a16="http://schemas.microsoft.com/office/drawing/2014/main" id="{C691887C-E36A-DC95-1877-3D247F69B54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FF25B5F9-3311-5725-039B-F67F7868AD4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 name="Titel 11">
            <a:extLst>
              <a:ext uri="{FF2B5EF4-FFF2-40B4-BE49-F238E27FC236}">
                <a16:creationId xmlns:a16="http://schemas.microsoft.com/office/drawing/2014/main" id="{7044AC19-7BA1-D234-E297-9C750842E162}"/>
              </a:ext>
            </a:extLst>
          </p:cNvPr>
          <p:cNvSpPr txBox="1">
            <a:spLocks/>
          </p:cNvSpPr>
          <p:nvPr userDrawn="1"/>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kern="1200" err="1">
                <a:solidFill>
                  <a:schemeClr val="tx1"/>
                </a:solidFill>
                <a:latin typeface="+mj-lt"/>
                <a:ea typeface="+mj-ea"/>
                <a:cs typeface="+mj-cs"/>
              </a:rPr>
              <a:t>msg</a:t>
            </a:r>
            <a:r>
              <a:rPr lang="de-DE" sz="1100" b="1" kern="1200">
                <a:solidFill>
                  <a:schemeClr val="tx1"/>
                </a:solidFill>
                <a:latin typeface="+mj-lt"/>
                <a:ea typeface="+mj-ea"/>
                <a:cs typeface="+mj-cs"/>
              </a:rPr>
              <a:t> </a:t>
            </a:r>
            <a:r>
              <a:rPr lang="de-DE" sz="1100" b="1" kern="1200" err="1">
                <a:solidFill>
                  <a:schemeClr val="tx1"/>
                </a:solidFill>
                <a:latin typeface="+mj-lt"/>
                <a:ea typeface="+mj-ea"/>
                <a:cs typeface="+mj-cs"/>
              </a:rPr>
              <a:t>systems</a:t>
            </a:r>
            <a:r>
              <a:rPr lang="de-DE" sz="1100" b="1" kern="1200">
                <a:solidFill>
                  <a:schemeClr val="tx1"/>
                </a:solidFill>
                <a:latin typeface="+mj-lt"/>
                <a:ea typeface="+mj-ea"/>
                <a:cs typeface="+mj-cs"/>
              </a:rPr>
              <a:t> AG </a:t>
            </a:r>
            <a:br>
              <a:rPr lang="de-DE" sz="1100"/>
            </a:br>
            <a:r>
              <a:rPr lang="de-DE" sz="1100"/>
              <a:t>Robert-Bürkle-Straße 1</a:t>
            </a:r>
            <a:br>
              <a:rPr lang="de-DE" sz="1100"/>
            </a:br>
            <a:r>
              <a:rPr lang="de-DE" sz="1100"/>
              <a:t>85737 Ismaning</a:t>
            </a:r>
          </a:p>
          <a:p>
            <a:pPr>
              <a:spcAft>
                <a:spcPts val="600"/>
              </a:spcAft>
            </a:pPr>
            <a:r>
              <a:rPr lang="de-DE" sz="1100"/>
              <a:t>+49 89 96101-0</a:t>
            </a:r>
            <a:br>
              <a:rPr lang="de-DE" sz="1100"/>
            </a:br>
            <a:r>
              <a:rPr lang="de-DE" sz="1100"/>
              <a:t>+49 89 96101-​1113</a:t>
            </a:r>
          </a:p>
          <a:p>
            <a:pPr>
              <a:spcAft>
                <a:spcPts val="600"/>
              </a:spcAft>
            </a:pPr>
            <a:r>
              <a:rPr lang="de-DE" sz="1100" err="1"/>
              <a:t>info@msg.group</a:t>
            </a:r>
            <a:endParaRPr lang="de-DE" sz="1100"/>
          </a:p>
        </p:txBody>
      </p:sp>
      <p:sp>
        <p:nvSpPr>
          <p:cNvPr id="4" name="Freihandform: Form 3" descr="Logo von X.">
            <a:extLst>
              <a:ext uri="{FF2B5EF4-FFF2-40B4-BE49-F238E27FC236}">
                <a16:creationId xmlns:a16="http://schemas.microsoft.com/office/drawing/2014/main" id="{615C6C00-7645-48A8-B26F-6FC90C9B5424}"/>
              </a:ext>
            </a:extLst>
          </p:cNvPr>
          <p:cNvSpPr>
            <a:spLocks/>
          </p:cNvSpPr>
          <p:nvPr userDrawn="1"/>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5" name="Freihandform: Form 4" descr="Logo von LinkedIn.">
            <a:extLst>
              <a:ext uri="{FF2B5EF4-FFF2-40B4-BE49-F238E27FC236}">
                <a16:creationId xmlns:a16="http://schemas.microsoft.com/office/drawing/2014/main" id="{FF807BBF-8DB4-420C-E6E8-5764AF0321EC}"/>
              </a:ext>
            </a:extLst>
          </p:cNvPr>
          <p:cNvSpPr>
            <a:spLocks/>
          </p:cNvSpPr>
          <p:nvPr userDrawn="1"/>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6" name="Freihandform: Form 5" descr="Logo von Facebook.">
            <a:extLst>
              <a:ext uri="{FF2B5EF4-FFF2-40B4-BE49-F238E27FC236}">
                <a16:creationId xmlns:a16="http://schemas.microsoft.com/office/drawing/2014/main" id="{9D39F3E4-848D-175E-34DC-47DACB095525}"/>
              </a:ext>
            </a:extLst>
          </p:cNvPr>
          <p:cNvSpPr>
            <a:spLocks/>
          </p:cNvSpPr>
          <p:nvPr userDrawn="1"/>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7" name="Freihandform: Form 6" descr="Logo von Instagram.">
            <a:extLst>
              <a:ext uri="{FF2B5EF4-FFF2-40B4-BE49-F238E27FC236}">
                <a16:creationId xmlns:a16="http://schemas.microsoft.com/office/drawing/2014/main" id="{86869B5A-2E35-A567-C379-65EE09109D4C}"/>
              </a:ext>
            </a:extLst>
          </p:cNvPr>
          <p:cNvSpPr>
            <a:spLocks/>
          </p:cNvSpPr>
          <p:nvPr userDrawn="1"/>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1" name="Freihandform: Form 10" descr="Logo von WhatsApp.">
            <a:extLst>
              <a:ext uri="{FF2B5EF4-FFF2-40B4-BE49-F238E27FC236}">
                <a16:creationId xmlns:a16="http://schemas.microsoft.com/office/drawing/2014/main" id="{8AC6137B-C8DE-EA2E-80A5-E358C21DE18F}"/>
              </a:ext>
            </a:extLst>
          </p:cNvPr>
          <p:cNvSpPr>
            <a:spLocks/>
          </p:cNvSpPr>
          <p:nvPr userDrawn="1"/>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noAutofit/>
          </a:bodyPr>
          <a:lstStyle>
            <a:lvl1pPr rtl="0">
              <a:defRPr>
                <a:solidFill>
                  <a:schemeClr val="tx1"/>
                </a:solidFill>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25302213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557C6E-E0BD-90A0-C797-59F42268DEF3}"/>
              </a:ext>
            </a:extLst>
          </p:cNvPr>
          <p:cNvGraphicFramePr>
            <a:graphicFrameLocks noChangeAspect="1"/>
          </p:cNvGraphicFramePr>
          <p:nvPr userDrawn="1">
            <p:custDataLst>
              <p:tags r:id="rId1"/>
            </p:custDataLst>
            <p:extLst>
              <p:ext uri="{D42A27DB-BD31-4B8C-83A1-F6EECF244321}">
                <p14:modId xmlns:p14="http://schemas.microsoft.com/office/powerpoint/2010/main" val="1510059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43557C6E-E0BD-90A0-C797-59F42268D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descr="Bild füllt 1/3 der Folie aus, rechts daneben eine Textbox mit Verabschiedung. Das Bild ist änderbar">
            <a:extLst>
              <a:ext uri="{FF2B5EF4-FFF2-40B4-BE49-F238E27FC236}">
                <a16:creationId xmlns:a16="http://schemas.microsoft.com/office/drawing/2014/main" id="{8A0BDE57-5FB6-EBC0-0A2B-8FC1EBF53F23}"/>
              </a:ext>
            </a:extLst>
          </p:cNvPr>
          <p:cNvSpPr>
            <a:spLocks noGrp="1"/>
          </p:cNvSpPr>
          <p:nvPr>
            <p:ph type="pic" sz="quarter" idx="10"/>
          </p:nvPr>
        </p:nvSpPr>
        <p:spPr bwMode="gray">
          <a:xfrm>
            <a:off x="0" y="0"/>
            <a:ext cx="4732016" cy="6858000"/>
          </a:xfrm>
          <a:custGeom>
            <a:avLst/>
            <a:gdLst>
              <a:gd name="connsiteX0" fmla="*/ 4731108 w 4732016"/>
              <a:gd name="connsiteY0" fmla="*/ 2672511 h 6858000"/>
              <a:gd name="connsiteX1" fmla="*/ 4732016 w 4732016"/>
              <a:gd name="connsiteY1" fmla="*/ 2672557 h 6858000"/>
              <a:gd name="connsiteX2" fmla="*/ 4732016 w 4732016"/>
              <a:gd name="connsiteY2" fmla="*/ 5415665 h 6858000"/>
              <a:gd name="connsiteX3" fmla="*/ 4731108 w 4732016"/>
              <a:gd name="connsiteY3" fmla="*/ 5415711 h 6858000"/>
              <a:gd name="connsiteX4" fmla="*/ 3359508 w 4732016"/>
              <a:gd name="connsiteY4" fmla="*/ 4044111 h 6858000"/>
              <a:gd name="connsiteX5" fmla="*/ 4731108 w 4732016"/>
              <a:gd name="connsiteY5" fmla="*/ 2672511 h 6858000"/>
              <a:gd name="connsiteX6" fmla="*/ 0 w 4732016"/>
              <a:gd name="connsiteY6" fmla="*/ 0 h 6858000"/>
              <a:gd name="connsiteX7" fmla="*/ 4732016 w 4732016"/>
              <a:gd name="connsiteY7" fmla="*/ 0 h 6858000"/>
              <a:gd name="connsiteX8" fmla="*/ 4732016 w 4732016"/>
              <a:gd name="connsiteY8" fmla="*/ 2595445 h 6858000"/>
              <a:gd name="connsiteX9" fmla="*/ 4731108 w 4732016"/>
              <a:gd name="connsiteY9" fmla="*/ 2595399 h 6858000"/>
              <a:gd name="connsiteX10" fmla="*/ 3282396 w 4732016"/>
              <a:gd name="connsiteY10" fmla="*/ 4044111 h 6858000"/>
              <a:gd name="connsiteX11" fmla="*/ 4731108 w 4732016"/>
              <a:gd name="connsiteY11" fmla="*/ 5492823 h 6858000"/>
              <a:gd name="connsiteX12" fmla="*/ 4732016 w 4732016"/>
              <a:gd name="connsiteY12" fmla="*/ 5492777 h 6858000"/>
              <a:gd name="connsiteX13" fmla="*/ 4732016 w 4732016"/>
              <a:gd name="connsiteY13" fmla="*/ 6858000 h 6858000"/>
              <a:gd name="connsiteX14" fmla="*/ 0 w 4732016"/>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2016" h="6858000">
                <a:moveTo>
                  <a:pt x="4731108" y="2672511"/>
                </a:moveTo>
                <a:lnTo>
                  <a:pt x="4732016" y="2672557"/>
                </a:lnTo>
                <a:lnTo>
                  <a:pt x="4732016" y="5415665"/>
                </a:lnTo>
                <a:lnTo>
                  <a:pt x="4731108" y="5415711"/>
                </a:lnTo>
                <a:cubicBezTo>
                  <a:pt x="3973594" y="5415711"/>
                  <a:pt x="3359508" y="4801625"/>
                  <a:pt x="3359508" y="4044111"/>
                </a:cubicBezTo>
                <a:cubicBezTo>
                  <a:pt x="3359508" y="3286597"/>
                  <a:pt x="3973594" y="2672511"/>
                  <a:pt x="4731108" y="2672511"/>
                </a:cubicBezTo>
                <a:close/>
                <a:moveTo>
                  <a:pt x="0" y="0"/>
                </a:moveTo>
                <a:lnTo>
                  <a:pt x="4732016" y="0"/>
                </a:lnTo>
                <a:lnTo>
                  <a:pt x="4732016" y="2595445"/>
                </a:lnTo>
                <a:lnTo>
                  <a:pt x="4731108" y="2595399"/>
                </a:lnTo>
                <a:cubicBezTo>
                  <a:pt x="3931006" y="2595399"/>
                  <a:pt x="3282396" y="3244009"/>
                  <a:pt x="3282396" y="4044111"/>
                </a:cubicBezTo>
                <a:cubicBezTo>
                  <a:pt x="3282396" y="4844213"/>
                  <a:pt x="3931006" y="5492823"/>
                  <a:pt x="4731108" y="5492823"/>
                </a:cubicBezTo>
                <a:lnTo>
                  <a:pt x="4732016" y="5492777"/>
                </a:lnTo>
                <a:lnTo>
                  <a:pt x="4732016" y="6858000"/>
                </a:lnTo>
                <a:lnTo>
                  <a:pt x="0" y="6858000"/>
                </a:lnTo>
                <a:close/>
              </a:path>
            </a:pathLst>
          </a:custGeom>
          <a:solidFill>
            <a:schemeClr val="bg2"/>
          </a:solidFill>
        </p:spPr>
        <p:txBody>
          <a:bodyPr wrap="square">
            <a:noAutofit/>
          </a:bodyPr>
          <a:lstStyle>
            <a:lvl1pPr>
              <a:defRPr/>
            </a:lvl1pPr>
          </a:lstStyle>
          <a:p>
            <a:r>
              <a:rPr lang="de-DE"/>
              <a:t>Bild durch Klicken auf Symbol hinzufügen</a:t>
            </a:r>
          </a:p>
        </p:txBody>
      </p:sp>
      <p:sp>
        <p:nvSpPr>
          <p:cNvPr id="2" name="Titel 1">
            <a:extLst>
              <a:ext uri="{FF2B5EF4-FFF2-40B4-BE49-F238E27FC236}">
                <a16:creationId xmlns:a16="http://schemas.microsoft.com/office/drawing/2014/main" id="{F411F345-D99E-DC01-54AD-CFF488F1540D}"/>
              </a:ext>
            </a:extLst>
          </p:cNvPr>
          <p:cNvSpPr>
            <a:spLocks noGrp="1"/>
          </p:cNvSpPr>
          <p:nvPr>
            <p:ph type="title" hasCustomPrompt="1"/>
          </p:nvPr>
        </p:nvSpPr>
        <p:spPr bwMode="gray">
          <a:xfrm>
            <a:off x="5171444" y="2637155"/>
            <a:ext cx="5389027" cy="1079886"/>
          </a:xfrm>
        </p:spPr>
        <p:txBody>
          <a:bodyPr vert="horz" anchor="b">
            <a:noAutofit/>
          </a:bodyPr>
          <a:lstStyle>
            <a:lvl1pPr rtl="0">
              <a:defRPr sz="7200">
                <a:solidFill>
                  <a:schemeClr val="accent1"/>
                </a:solidFill>
              </a:defRPr>
            </a:lvl1pPr>
          </a:lstStyle>
          <a:p>
            <a:r>
              <a:rPr lang="de-DE"/>
              <a:t>Vielen Dank</a:t>
            </a:r>
          </a:p>
        </p:txBody>
      </p:sp>
      <p:pic>
        <p:nvPicPr>
          <p:cNvPr id="4" name="Grafik 3">
            <a:extLst>
              <a:ext uri="{FF2B5EF4-FFF2-40B4-BE49-F238E27FC236}">
                <a16:creationId xmlns:a16="http://schemas.microsoft.com/office/drawing/2014/main" id="{E61D11C2-59E6-B47D-9725-493B567FE06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bwMode="gray">
          <a:xfrm>
            <a:off x="10704521" y="296864"/>
            <a:ext cx="1152942" cy="360000"/>
          </a:xfrm>
          <a:prstGeom prst="rect">
            <a:avLst/>
          </a:prstGeom>
        </p:spPr>
      </p:pic>
      <p:sp>
        <p:nvSpPr>
          <p:cNvPr id="13" name="Freihandform: Form 12">
            <a:extLst>
              <a:ext uri="{FF2B5EF4-FFF2-40B4-BE49-F238E27FC236}">
                <a16:creationId xmlns:a16="http://schemas.microsoft.com/office/drawing/2014/main" id="{C853E75E-DDB2-41C0-26F3-9A404FCBC4BC}"/>
              </a:ext>
              <a:ext uri="{C183D7F6-B498-43B3-948B-1728B52AA6E4}">
                <adec:decorative xmlns:adec="http://schemas.microsoft.com/office/drawing/2017/decorative" val="1"/>
              </a:ext>
            </a:extLst>
          </p:cNvPr>
          <p:cNvSpPr>
            <a:spLocks/>
          </p:cNvSpPr>
          <p:nvPr userDrawn="1"/>
        </p:nvSpPr>
        <p:spPr bwMode="gray">
          <a:xfrm>
            <a:off x="4732016"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23" name="Gruppieren 22">
            <a:extLst>
              <a:ext uri="{FF2B5EF4-FFF2-40B4-BE49-F238E27FC236}">
                <a16:creationId xmlns:a16="http://schemas.microsoft.com/office/drawing/2014/main" id="{DC4E1B5C-FA2B-A25F-98F2-EAB6D242AB0D}"/>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24" name="Gerader Verbinder 23">
              <a:extLst>
                <a:ext uri="{FF2B5EF4-FFF2-40B4-BE49-F238E27FC236}">
                  <a16:creationId xmlns:a16="http://schemas.microsoft.com/office/drawing/2014/main" id="{8700D640-C026-81DF-9BEC-4AA2A2CA6FC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95EB4F89-3FBB-615D-089C-8B9A94D1720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 name="Gruppieren 33">
            <a:extLst>
              <a:ext uri="{FF2B5EF4-FFF2-40B4-BE49-F238E27FC236}">
                <a16:creationId xmlns:a16="http://schemas.microsoft.com/office/drawing/2014/main" id="{AE1B60D7-E3D7-1291-5C40-0F365A12796A}"/>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35" name="Gerader Verbinder 34">
              <a:extLst>
                <a:ext uri="{FF2B5EF4-FFF2-40B4-BE49-F238E27FC236}">
                  <a16:creationId xmlns:a16="http://schemas.microsoft.com/office/drawing/2014/main" id="{DF51E956-5109-9B37-947A-C66912F3EF7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BA94E57-9184-7056-0256-7B938B9F35C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5" name="Gruppieren 254">
            <a:extLst>
              <a:ext uri="{FF2B5EF4-FFF2-40B4-BE49-F238E27FC236}">
                <a16:creationId xmlns:a16="http://schemas.microsoft.com/office/drawing/2014/main" id="{3E5391CA-E519-76AB-4391-44D965D46B5B}"/>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256" name="Gerader Verbinder 255">
              <a:extLst>
                <a:ext uri="{FF2B5EF4-FFF2-40B4-BE49-F238E27FC236}">
                  <a16:creationId xmlns:a16="http://schemas.microsoft.com/office/drawing/2014/main" id="{3D5CF162-9356-8961-7485-E975EFEF31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88DE2A7E-3339-A825-6D86-C6FFE468CC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8" name="Gerader Verbinder 257">
              <a:extLst>
                <a:ext uri="{FF2B5EF4-FFF2-40B4-BE49-F238E27FC236}">
                  <a16:creationId xmlns:a16="http://schemas.microsoft.com/office/drawing/2014/main" id="{AB1D1473-27B0-133A-72CA-46D22658ED0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9" name="Gerader Verbinder 258">
              <a:extLst>
                <a:ext uri="{FF2B5EF4-FFF2-40B4-BE49-F238E27FC236}">
                  <a16:creationId xmlns:a16="http://schemas.microsoft.com/office/drawing/2014/main" id="{1E940AEB-D178-02FF-70E9-E501265D193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B58477F6-72E0-6D73-AA37-159DBC36BE8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1" name="Gerader Verbinder 260">
              <a:extLst>
                <a:ext uri="{FF2B5EF4-FFF2-40B4-BE49-F238E27FC236}">
                  <a16:creationId xmlns:a16="http://schemas.microsoft.com/office/drawing/2014/main" id="{75810A12-D3BD-DCE6-076A-E96EEA6ABF0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2" name="Gerader Verbinder 261">
              <a:extLst>
                <a:ext uri="{FF2B5EF4-FFF2-40B4-BE49-F238E27FC236}">
                  <a16:creationId xmlns:a16="http://schemas.microsoft.com/office/drawing/2014/main" id="{F2B0E949-A9CB-7365-01C9-8A6DF67AE2A9}"/>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3" name="Gruppieren 262">
            <a:extLst>
              <a:ext uri="{FF2B5EF4-FFF2-40B4-BE49-F238E27FC236}">
                <a16:creationId xmlns:a16="http://schemas.microsoft.com/office/drawing/2014/main" id="{E1AA2A90-B7AD-39FC-9421-FCB18C79E3C1}"/>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64" name="Gerader Verbinder 263">
              <a:extLst>
                <a:ext uri="{FF2B5EF4-FFF2-40B4-BE49-F238E27FC236}">
                  <a16:creationId xmlns:a16="http://schemas.microsoft.com/office/drawing/2014/main" id="{EC992BC4-1D1C-C6AC-E564-8E8883B6885C}"/>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5" name="Gerader Verbinder 264">
              <a:extLst>
                <a:ext uri="{FF2B5EF4-FFF2-40B4-BE49-F238E27FC236}">
                  <a16:creationId xmlns:a16="http://schemas.microsoft.com/office/drawing/2014/main" id="{3095DD07-ED94-455A-D0E9-23995317758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id="{63CA2019-0C1D-3FD4-01EB-B40A418427A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7" name="Gerader Verbinder 266">
              <a:extLst>
                <a:ext uri="{FF2B5EF4-FFF2-40B4-BE49-F238E27FC236}">
                  <a16:creationId xmlns:a16="http://schemas.microsoft.com/office/drawing/2014/main" id="{2CB73853-CAF7-7DB3-6F1E-91C21531047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8" name="Gerader Verbinder 267">
              <a:extLst>
                <a:ext uri="{FF2B5EF4-FFF2-40B4-BE49-F238E27FC236}">
                  <a16:creationId xmlns:a16="http://schemas.microsoft.com/office/drawing/2014/main" id="{0A0325C9-46EF-914F-E083-4986A9A05F0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9" name="Gerader Verbinder 268">
              <a:extLst>
                <a:ext uri="{FF2B5EF4-FFF2-40B4-BE49-F238E27FC236}">
                  <a16:creationId xmlns:a16="http://schemas.microsoft.com/office/drawing/2014/main" id="{8689EBEB-57E4-6EE7-1089-1CD41EB9B67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0" name="Gerader Verbinder 269">
              <a:extLst>
                <a:ext uri="{FF2B5EF4-FFF2-40B4-BE49-F238E27FC236}">
                  <a16:creationId xmlns:a16="http://schemas.microsoft.com/office/drawing/2014/main" id="{968F8860-7501-5AA5-FE12-BEA00350C92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842667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61DADEE-A415-FFD1-F733-F9D31551A778}"/>
              </a:ext>
            </a:extLst>
          </p:cNvPr>
          <p:cNvGraphicFramePr>
            <a:graphicFrameLocks noChangeAspect="1"/>
          </p:cNvGraphicFramePr>
          <p:nvPr userDrawn="1">
            <p:custDataLst>
              <p:tags r:id="rId1"/>
            </p:custDataLst>
            <p:extLst>
              <p:ext uri="{D42A27DB-BD31-4B8C-83A1-F6EECF244321}">
                <p14:modId xmlns:p14="http://schemas.microsoft.com/office/powerpoint/2010/main" val="85128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think-cell data - do not delete" hidden="1">
                        <a:extLst>
                          <a:ext uri="{FF2B5EF4-FFF2-40B4-BE49-F238E27FC236}">
                            <a16:creationId xmlns:a16="http://schemas.microsoft.com/office/drawing/2014/main" id="{361DADEE-A415-FFD1-F733-F9D31551A7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0EBC34C9-5AE0-0DD2-DA55-7E282D984085}"/>
              </a:ext>
            </a:extLst>
          </p:cNvPr>
          <p:cNvSpPr>
            <a:spLocks noGrp="1"/>
          </p:cNvSpPr>
          <p:nvPr>
            <p:ph type="ftr" sz="quarter" idx="10"/>
          </p:nvPr>
        </p:nvSpPr>
        <p:spPr/>
        <p:txBody>
          <a:bodyPr/>
          <a:lstStyle>
            <a:lvl1pPr rtl="0">
              <a:defRPr/>
            </a:lvl1pPr>
          </a:lstStyle>
          <a:p>
            <a:r>
              <a:rPr lang="en-US"/>
              <a:t>© msg systems ag | 2025 | msg Company Presentation</a:t>
            </a:r>
            <a:endParaRPr lang="de-DE"/>
          </a:p>
        </p:txBody>
      </p:sp>
      <p:sp>
        <p:nvSpPr>
          <p:cNvPr id="4" name="Foliennummernplatzhalter 3">
            <a:extLst>
              <a:ext uri="{FF2B5EF4-FFF2-40B4-BE49-F238E27FC236}">
                <a16:creationId xmlns:a16="http://schemas.microsoft.com/office/drawing/2014/main" id="{6AF84FBF-4920-3C3F-4CB7-6B19E22E05F5}"/>
              </a:ext>
            </a:extLst>
          </p:cNvPr>
          <p:cNvSpPr>
            <a:spLocks noGrp="1"/>
          </p:cNvSpPr>
          <p:nvPr>
            <p:ph type="sldNum" sz="quarter" idx="11"/>
          </p:nvPr>
        </p:nvSpPr>
        <p:spPr/>
        <p:txBody>
          <a:bodyPr/>
          <a:lstStyle>
            <a:lvl1pPr rtl="0">
              <a:defRPr/>
            </a:lvl1pPr>
          </a:lstStyle>
          <a:p>
            <a:fld id="{B27B0579-4238-4E44-9A9E-134B676F827C}" type="slidenum">
              <a:rPr lang="de-DE" smtClean="0"/>
              <a:pPr/>
              <a:t>‹Nr.›</a:t>
            </a:fld>
            <a:endParaRPr lang="de-DE"/>
          </a:p>
        </p:txBody>
      </p:sp>
    </p:spTree>
    <p:extLst>
      <p:ext uri="{BB962C8B-B14F-4D97-AF65-F5344CB8AC3E}">
        <p14:creationId xmlns:p14="http://schemas.microsoft.com/office/powerpoint/2010/main" val="14028541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3">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75676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2146201" y="2211159"/>
            <a:ext cx="8198670" cy="1505863"/>
          </a:xfrm>
          <a:prstGeom prst="rect">
            <a:avLst/>
          </a:prstGeom>
          <a:noFill/>
        </p:spPr>
        <p:txBody>
          <a:bodyPr vert="horz" wrap="square" lIns="0" tIns="0" rIns="0" bIns="0" anchor="t">
            <a:noAutofit/>
          </a:bodyPr>
          <a:lstStyle>
            <a:lvl1pPr algn="l" rtl="0">
              <a:defRPr sz="4800">
                <a:solidFill>
                  <a:schemeClr val="tx1"/>
                </a:solidFill>
                <a:latin typeface="+mn-lt"/>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146201" y="3717048"/>
            <a:ext cx="8198670"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grpSp>
        <p:nvGrpSpPr>
          <p:cNvPr id="33" name="Gruppieren 32">
            <a:extLst>
              <a:ext uri="{FF2B5EF4-FFF2-40B4-BE49-F238E27FC236}">
                <a16:creationId xmlns:a16="http://schemas.microsoft.com/office/drawing/2014/main" id="{0CB106EF-3BA3-D76F-C56B-E342B8AAF22E}"/>
              </a:ext>
              <a:ext uri="{C183D7F6-B498-43B3-948B-1728B52AA6E4}">
                <adec:decorative xmlns:adec="http://schemas.microsoft.com/office/drawing/2017/decorative" val="1"/>
              </a:ext>
            </a:extLst>
          </p:cNvPr>
          <p:cNvGrpSpPr/>
          <p:nvPr userDrawn="1"/>
        </p:nvGrpSpPr>
        <p:grpSpPr>
          <a:xfrm>
            <a:off x="996459" y="1160678"/>
            <a:ext cx="1861676" cy="1861676"/>
            <a:chOff x="986299" y="1089558"/>
            <a:chExt cx="1367360" cy="1367360"/>
          </a:xfrm>
        </p:grpSpPr>
        <p:sp>
          <p:nvSpPr>
            <p:cNvPr id="17" name="Bogen 16">
              <a:extLst>
                <a:ext uri="{FF2B5EF4-FFF2-40B4-BE49-F238E27FC236}">
                  <a16:creationId xmlns:a16="http://schemas.microsoft.com/office/drawing/2014/main" id="{40BF3617-F480-F93D-1B46-2842F9036DA8}"/>
                </a:ext>
              </a:extLst>
            </p:cNvPr>
            <p:cNvSpPr>
              <a:spLocks/>
            </p:cNvSpPr>
            <p:nvPr userDrawn="1"/>
          </p:nvSpPr>
          <p:spPr bwMode="gray">
            <a:xfrm flipH="1">
              <a:off x="986299" y="1089558"/>
              <a:ext cx="1367360" cy="1367360"/>
            </a:xfrm>
            <a:prstGeom prst="arc">
              <a:avLst>
                <a:gd name="adj1" fmla="val 10811763"/>
                <a:gd name="adj2" fmla="val 21579546"/>
              </a:avLst>
            </a:prstGeom>
            <a:ln w="635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Bogen 15">
              <a:extLst>
                <a:ext uri="{FF2B5EF4-FFF2-40B4-BE49-F238E27FC236}">
                  <a16:creationId xmlns:a16="http://schemas.microsoft.com/office/drawing/2014/main" id="{5CB9498F-724C-1927-C59B-9E545F43910F}"/>
                </a:ext>
              </a:extLst>
            </p:cNvPr>
            <p:cNvSpPr>
              <a:spLocks/>
            </p:cNvSpPr>
            <p:nvPr userDrawn="1"/>
          </p:nvSpPr>
          <p:spPr bwMode="gray">
            <a:xfrm flipH="1">
              <a:off x="986299" y="1089558"/>
              <a:ext cx="1367360" cy="1367360"/>
            </a:xfrm>
            <a:prstGeom prst="arc">
              <a:avLst>
                <a:gd name="adj1" fmla="val 21583410"/>
                <a:gd name="adj2" fmla="val 5403393"/>
              </a:avLst>
            </a:prstGeom>
            <a:ln w="63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69AD8A91-7AEB-C53B-7F6C-16297FC0020C}"/>
              </a:ext>
              <a:ext uri="{C183D7F6-B498-43B3-948B-1728B52AA6E4}">
                <adec:decorative xmlns:adec="http://schemas.microsoft.com/office/drawing/2017/decorative" val="1"/>
              </a:ext>
            </a:extLst>
          </p:cNvPr>
          <p:cNvPicPr>
            <a:picLocks/>
          </p:cNvPicPr>
          <p:nvPr userDrawn="1"/>
        </p:nvPicPr>
        <p:blipFill rotWithShape="1">
          <a:blip r:embed="rId5">
            <a:extLst>
              <a:ext uri="{28A0092B-C50C-407E-A947-70E740481C1C}">
                <a14:useLocalDpi xmlns:a14="http://schemas.microsoft.com/office/drawing/2010/main" val="0"/>
              </a:ext>
            </a:extLst>
          </a:blip>
          <a:srcRect/>
          <a:stretch/>
        </p:blipFill>
        <p:spPr bwMode="gray">
          <a:xfrm>
            <a:off x="0" y="0"/>
            <a:ext cx="12192000" cy="142290"/>
          </a:xfrm>
          <a:prstGeom prst="rect">
            <a:avLst/>
          </a:prstGeom>
        </p:spPr>
      </p:pic>
      <p:grpSp>
        <p:nvGrpSpPr>
          <p:cNvPr id="2" name="Gruppieren 1">
            <a:extLst>
              <a:ext uri="{FF2B5EF4-FFF2-40B4-BE49-F238E27FC236}">
                <a16:creationId xmlns:a16="http://schemas.microsoft.com/office/drawing/2014/main" id="{926F182A-DC90-3BD4-F0E4-FE4E818F8300}"/>
              </a:ext>
              <a:ext uri="{C183D7F6-B498-43B3-948B-1728B52AA6E4}">
                <adec:decorative xmlns:adec="http://schemas.microsoft.com/office/drawing/2017/decorative" val="1"/>
              </a:ext>
            </a:extLst>
          </p:cNvPr>
          <p:cNvGrpSpPr>
            <a:grpSpLocks/>
          </p:cNvGrpSpPr>
          <p:nvPr userDrawn="1"/>
        </p:nvGrpSpPr>
        <p:grpSpPr bwMode="gray">
          <a:xfrm>
            <a:off x="9768114" y="5710720"/>
            <a:ext cx="1915180" cy="598005"/>
            <a:chOff x="5324475" y="3186112"/>
            <a:chExt cx="1546859" cy="483775"/>
          </a:xfrm>
        </p:grpSpPr>
        <p:sp>
          <p:nvSpPr>
            <p:cNvPr id="4" name="Freihandform: Form 3">
              <a:extLst>
                <a:ext uri="{FF2B5EF4-FFF2-40B4-BE49-F238E27FC236}">
                  <a16:creationId xmlns:a16="http://schemas.microsoft.com/office/drawing/2014/main" id="{BD7D5D96-8F90-E036-05B2-C58D1BF4E30D}"/>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7" name="Freihandform: Form 6">
              <a:extLst>
                <a:ext uri="{FF2B5EF4-FFF2-40B4-BE49-F238E27FC236}">
                  <a16:creationId xmlns:a16="http://schemas.microsoft.com/office/drawing/2014/main" id="{CB64F509-0955-4AC8-66B6-76413CD8620E}"/>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20" name="Gruppieren 119">
            <a:extLst>
              <a:ext uri="{FF2B5EF4-FFF2-40B4-BE49-F238E27FC236}">
                <a16:creationId xmlns:a16="http://schemas.microsoft.com/office/drawing/2014/main" id="{4C92181B-04CE-084C-B7E6-66C9747E11FF}"/>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21" name="Gerader Verbinder 120">
              <a:extLst>
                <a:ext uri="{FF2B5EF4-FFF2-40B4-BE49-F238E27FC236}">
                  <a16:creationId xmlns:a16="http://schemas.microsoft.com/office/drawing/2014/main" id="{74322542-8848-91A3-2CC1-B49F2A1C64C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B4A02903-A4EC-4DBC-1A88-BA0045DE290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6147429D-CE2D-FAC7-AC90-1D18B481895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1FC67ADE-19D3-3847-E500-5F273F458B5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0F8BAEAD-A9E8-3D9D-9135-87183F75ECA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D8988380-95F6-6010-BA59-76C89F69FE3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8E3ACD83-FC57-BA76-02B4-80C0805AC05C}"/>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8" name="Gruppieren 127">
            <a:extLst>
              <a:ext uri="{FF2B5EF4-FFF2-40B4-BE49-F238E27FC236}">
                <a16:creationId xmlns:a16="http://schemas.microsoft.com/office/drawing/2014/main" id="{9D0271DE-B45F-E85C-E6B5-C65E75C53AF9}"/>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29" name="Gerader Verbinder 128">
              <a:extLst>
                <a:ext uri="{FF2B5EF4-FFF2-40B4-BE49-F238E27FC236}">
                  <a16:creationId xmlns:a16="http://schemas.microsoft.com/office/drawing/2014/main" id="{7FCF6D2C-0495-5977-2523-73C276F6CF7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D4434A06-31AC-9B63-5BC1-BAB9B7E2EE6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1" name="Gerader Verbinder 130">
              <a:extLst>
                <a:ext uri="{FF2B5EF4-FFF2-40B4-BE49-F238E27FC236}">
                  <a16:creationId xmlns:a16="http://schemas.microsoft.com/office/drawing/2014/main" id="{F6EC6CFA-74E2-30F7-39FC-5B9B1ADD5A0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2" name="Gerader Verbinder 131">
              <a:extLst>
                <a:ext uri="{FF2B5EF4-FFF2-40B4-BE49-F238E27FC236}">
                  <a16:creationId xmlns:a16="http://schemas.microsoft.com/office/drawing/2014/main" id="{C3E47CFD-4B65-07C1-9B1C-A0CFFD00266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ABE64895-180E-8835-CAAA-43AE1592414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706A53F2-270B-CBD8-EBEF-8511551A4E9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5" name="Gerader Verbinder 134">
              <a:extLst>
                <a:ext uri="{FF2B5EF4-FFF2-40B4-BE49-F238E27FC236}">
                  <a16:creationId xmlns:a16="http://schemas.microsoft.com/office/drawing/2014/main" id="{CBB7E1F7-F26E-C672-836B-E0BB50AA87F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147924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69874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itel 19">
            <a:extLst>
              <a:ext uri="{FF2B5EF4-FFF2-40B4-BE49-F238E27FC236}">
                <a16:creationId xmlns:a16="http://schemas.microsoft.com/office/drawing/2014/main" id="{92B86D02-4286-2F83-9BEC-EF0BA6257A9A}"/>
              </a:ext>
            </a:extLst>
          </p:cNvPr>
          <p:cNvSpPr>
            <a:spLocks noGrp="1"/>
          </p:cNvSpPr>
          <p:nvPr>
            <p:ph type="title"/>
          </p:nvPr>
        </p:nvSpPr>
        <p:spPr bwMode="gray"/>
        <p:txBody>
          <a:bodyPr vert="horz"/>
          <a:lstStyle>
            <a:lvl1pPr>
              <a:defRPr>
                <a:solidFill>
                  <a:schemeClr val="tx1"/>
                </a:solidFill>
              </a:defRPr>
            </a:lvl1pPr>
          </a:lstStyle>
          <a:p>
            <a:r>
              <a:rPr lang="de-DE"/>
              <a:t>Mastertitelformat bearbeiten</a:t>
            </a:r>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623888" y="17732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1</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1271909" y="18661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623888" y="24220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2</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1271909" y="25149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623888" y="30709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3</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gray">
          <a:xfrm>
            <a:off x="1271909" y="31638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623888" y="37197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4</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gray">
          <a:xfrm>
            <a:off x="1271909" y="38126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623888" y="43686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5</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gray">
          <a:xfrm>
            <a:off x="1271909" y="44615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623888" y="50174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6</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gray">
          <a:xfrm>
            <a:off x="1271909" y="51103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623888" y="5666336"/>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7</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gray">
          <a:xfrm>
            <a:off x="1271909" y="5759226"/>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9" name="Fußzeilenplatzhalter 8">
            <a:extLst>
              <a:ext uri="{FF2B5EF4-FFF2-40B4-BE49-F238E27FC236}">
                <a16:creationId xmlns:a16="http://schemas.microsoft.com/office/drawing/2014/main" id="{D03EB9C7-5B0D-40C1-4C1E-90D2B3B10616}"/>
              </a:ext>
              <a:ext uri="{C183D7F6-B498-43B3-948B-1728B52AA6E4}">
                <adec:decorative xmlns:adec="http://schemas.microsoft.com/office/drawing/2017/decorative" val="0"/>
              </a:ext>
            </a:extLst>
          </p:cNvPr>
          <p:cNvSpPr>
            <a:spLocks noGrp="1"/>
          </p:cNvSpPr>
          <p:nvPr>
            <p:ph type="ftr" sz="quarter" idx="10"/>
          </p:nvPr>
        </p:nvSpPr>
        <p:spPr bwMode="gray"/>
        <p:txBody>
          <a:bodyPr>
            <a:noAutofit/>
          </a:bodyPr>
          <a:lstStyle>
            <a:lvl1pPr rtl="0">
              <a:defRPr>
                <a:solidFill>
                  <a:schemeClr val="tx1"/>
                </a:solidFill>
              </a:defRPr>
            </a:lvl1pPr>
          </a:lstStyle>
          <a:p>
            <a:r>
              <a:rPr lang="en-US" dirty="0"/>
              <a:t>© msg systems ag | 2026 | msg Company Pre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774607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352678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3" name="Bildplatzhalter" descr="Bild füllt 2/3 der Seite aus, links Kapitelnummer, Titel und Untertitel, Bild ist änderbar.">
            <a:extLst>
              <a:ext uri="{FF2B5EF4-FFF2-40B4-BE49-F238E27FC236}">
                <a16:creationId xmlns:a16="http://schemas.microsoft.com/office/drawing/2014/main" id="{20932346-D43C-7963-3AAA-F4F931121B5B}"/>
              </a:ext>
              <a:ext uri="{C183D7F6-B498-43B3-948B-1728B52AA6E4}">
                <adec:decorative xmlns:adec="http://schemas.microsoft.com/office/drawing/2017/decorative" val="0"/>
              </a:ext>
            </a:extLst>
          </p:cNvPr>
          <p:cNvSpPr>
            <a:spLocks noGrp="1"/>
          </p:cNvSpPr>
          <p:nvPr>
            <p:ph type="pic" sz="quarter" idx="13"/>
          </p:nvPr>
        </p:nvSpPr>
        <p:spPr bwMode="gray">
          <a:xfrm>
            <a:off x="4728306" y="0"/>
            <a:ext cx="7463692" cy="6858000"/>
          </a:xfrm>
          <a:custGeom>
            <a:avLst/>
            <a:gdLst>
              <a:gd name="connsiteX0" fmla="*/ 6036214 w 7463692"/>
              <a:gd name="connsiteY0" fmla="*/ 454511 h 6858000"/>
              <a:gd name="connsiteX1" fmla="*/ 5976214 w 7463692"/>
              <a:gd name="connsiteY1" fmla="*/ 514511 h 6858000"/>
              <a:gd name="connsiteX2" fmla="*/ 6036214 w 7463692"/>
              <a:gd name="connsiteY2" fmla="*/ 574511 h 6858000"/>
              <a:gd name="connsiteX3" fmla="*/ 6096214 w 7463692"/>
              <a:gd name="connsiteY3" fmla="*/ 514511 h 6858000"/>
              <a:gd name="connsiteX4" fmla="*/ 6036214 w 7463692"/>
              <a:gd name="connsiteY4" fmla="*/ 454511 h 6858000"/>
              <a:gd name="connsiteX5" fmla="*/ 6975273 w 7463692"/>
              <a:gd name="connsiteY5" fmla="*/ 338982 h 6858000"/>
              <a:gd name="connsiteX6" fmla="*/ 7078802 w 7463692"/>
              <a:gd name="connsiteY6" fmla="*/ 338982 h 6858000"/>
              <a:gd name="connsiteX7" fmla="*/ 7078802 w 7463692"/>
              <a:gd name="connsiteY7" fmla="*/ 530746 h 6858000"/>
              <a:gd name="connsiteX8" fmla="*/ 6973155 w 7463692"/>
              <a:gd name="connsiteY8" fmla="*/ 530746 h 6858000"/>
              <a:gd name="connsiteX9" fmla="*/ 6909390 w 7463692"/>
              <a:gd name="connsiteY9" fmla="*/ 492629 h 6858000"/>
              <a:gd name="connsiteX10" fmla="*/ 6909390 w 7463692"/>
              <a:gd name="connsiteY10" fmla="*/ 432864 h 6858000"/>
              <a:gd name="connsiteX11" fmla="*/ 6909390 w 7463692"/>
              <a:gd name="connsiteY11" fmla="*/ 383688 h 6858000"/>
              <a:gd name="connsiteX12" fmla="*/ 6975273 w 7463692"/>
              <a:gd name="connsiteY12" fmla="*/ 338982 h 6858000"/>
              <a:gd name="connsiteX13" fmla="*/ 6957861 w 7463692"/>
              <a:gd name="connsiteY13" fmla="*/ 296864 h 6858000"/>
              <a:gd name="connsiteX14" fmla="*/ 6883978 w 7463692"/>
              <a:gd name="connsiteY14" fmla="*/ 313805 h 6858000"/>
              <a:gd name="connsiteX15" fmla="*/ 6858096 w 7463692"/>
              <a:gd name="connsiteY15" fmla="*/ 384393 h 6858000"/>
              <a:gd name="connsiteX16" fmla="*/ 6858096 w 7463692"/>
              <a:gd name="connsiteY16" fmla="*/ 483923 h 6858000"/>
              <a:gd name="connsiteX17" fmla="*/ 6885625 w 7463692"/>
              <a:gd name="connsiteY17" fmla="*/ 558276 h 6858000"/>
              <a:gd name="connsiteX18" fmla="*/ 6958096 w 7463692"/>
              <a:gd name="connsiteY18" fmla="*/ 572629 h 6858000"/>
              <a:gd name="connsiteX19" fmla="*/ 7078802 w 7463692"/>
              <a:gd name="connsiteY19" fmla="*/ 572629 h 6858000"/>
              <a:gd name="connsiteX20" fmla="*/ 7078802 w 7463692"/>
              <a:gd name="connsiteY20" fmla="*/ 583217 h 6858000"/>
              <a:gd name="connsiteX21" fmla="*/ 7050802 w 7463692"/>
              <a:gd name="connsiteY21" fmla="*/ 613099 h 6858000"/>
              <a:gd name="connsiteX22" fmla="*/ 6893390 w 7463692"/>
              <a:gd name="connsiteY22" fmla="*/ 613099 h 6858000"/>
              <a:gd name="connsiteX23" fmla="*/ 6893390 w 7463692"/>
              <a:gd name="connsiteY23" fmla="*/ 657335 h 6858000"/>
              <a:gd name="connsiteX24" fmla="*/ 7067037 w 7463692"/>
              <a:gd name="connsiteY24" fmla="*/ 657335 h 6858000"/>
              <a:gd name="connsiteX25" fmla="*/ 7128920 w 7463692"/>
              <a:gd name="connsiteY25" fmla="*/ 597099 h 6858000"/>
              <a:gd name="connsiteX26" fmla="*/ 7128920 w 7463692"/>
              <a:gd name="connsiteY26" fmla="*/ 296864 h 6858000"/>
              <a:gd name="connsiteX27" fmla="*/ 6623273 w 7463692"/>
              <a:gd name="connsiteY27" fmla="*/ 296864 h 6858000"/>
              <a:gd name="connsiteX28" fmla="*/ 6552449 w 7463692"/>
              <a:gd name="connsiteY28" fmla="*/ 373335 h 6858000"/>
              <a:gd name="connsiteX29" fmla="*/ 6619743 w 7463692"/>
              <a:gd name="connsiteY29" fmla="*/ 452864 h 6858000"/>
              <a:gd name="connsiteX30" fmla="*/ 6739508 w 7463692"/>
              <a:gd name="connsiteY30" fmla="*/ 452864 h 6858000"/>
              <a:gd name="connsiteX31" fmla="*/ 6776214 w 7463692"/>
              <a:gd name="connsiteY31" fmla="*/ 494040 h 6858000"/>
              <a:gd name="connsiteX32" fmla="*/ 6740449 w 7463692"/>
              <a:gd name="connsiteY32" fmla="*/ 530746 h 6858000"/>
              <a:gd name="connsiteX33" fmla="*/ 6557155 w 7463692"/>
              <a:gd name="connsiteY33" fmla="*/ 530746 h 6858000"/>
              <a:gd name="connsiteX34" fmla="*/ 6557155 w 7463692"/>
              <a:gd name="connsiteY34" fmla="*/ 572864 h 6858000"/>
              <a:gd name="connsiteX35" fmla="*/ 6761626 w 7463692"/>
              <a:gd name="connsiteY35" fmla="*/ 572864 h 6858000"/>
              <a:gd name="connsiteX36" fmla="*/ 6827273 w 7463692"/>
              <a:gd name="connsiteY36" fmla="*/ 494511 h 6858000"/>
              <a:gd name="connsiteX37" fmla="*/ 6764920 w 7463692"/>
              <a:gd name="connsiteY37" fmla="*/ 411217 h 6858000"/>
              <a:gd name="connsiteX38" fmla="*/ 6635508 w 7463692"/>
              <a:gd name="connsiteY38" fmla="*/ 411217 h 6858000"/>
              <a:gd name="connsiteX39" fmla="*/ 6602802 w 7463692"/>
              <a:gd name="connsiteY39" fmla="*/ 374511 h 6858000"/>
              <a:gd name="connsiteX40" fmla="*/ 6640920 w 7463692"/>
              <a:gd name="connsiteY40" fmla="*/ 338982 h 6858000"/>
              <a:gd name="connsiteX41" fmla="*/ 6817626 w 7463692"/>
              <a:gd name="connsiteY41" fmla="*/ 338982 h 6858000"/>
              <a:gd name="connsiteX42" fmla="*/ 6817626 w 7463692"/>
              <a:gd name="connsiteY42" fmla="*/ 297099 h 6858000"/>
              <a:gd name="connsiteX43" fmla="*/ 6135037 w 7463692"/>
              <a:gd name="connsiteY43" fmla="*/ 296864 h 6858000"/>
              <a:gd name="connsiteX44" fmla="*/ 6135037 w 7463692"/>
              <a:gd name="connsiteY44" fmla="*/ 572629 h 6858000"/>
              <a:gd name="connsiteX45" fmla="*/ 6185390 w 7463692"/>
              <a:gd name="connsiteY45" fmla="*/ 572629 h 6858000"/>
              <a:gd name="connsiteX46" fmla="*/ 6185390 w 7463692"/>
              <a:gd name="connsiteY46" fmla="*/ 338746 h 6858000"/>
              <a:gd name="connsiteX47" fmla="*/ 6300684 w 7463692"/>
              <a:gd name="connsiteY47" fmla="*/ 338746 h 6858000"/>
              <a:gd name="connsiteX48" fmla="*/ 6300684 w 7463692"/>
              <a:gd name="connsiteY48" fmla="*/ 572629 h 6858000"/>
              <a:gd name="connsiteX49" fmla="*/ 6351272 w 7463692"/>
              <a:gd name="connsiteY49" fmla="*/ 572629 h 6858000"/>
              <a:gd name="connsiteX50" fmla="*/ 6351272 w 7463692"/>
              <a:gd name="connsiteY50" fmla="*/ 338746 h 6858000"/>
              <a:gd name="connsiteX51" fmla="*/ 6427978 w 7463692"/>
              <a:gd name="connsiteY51" fmla="*/ 338746 h 6858000"/>
              <a:gd name="connsiteX52" fmla="*/ 6472214 w 7463692"/>
              <a:gd name="connsiteY52" fmla="*/ 387923 h 6858000"/>
              <a:gd name="connsiteX53" fmla="*/ 6472214 w 7463692"/>
              <a:gd name="connsiteY53" fmla="*/ 572629 h 6858000"/>
              <a:gd name="connsiteX54" fmla="*/ 6522567 w 7463692"/>
              <a:gd name="connsiteY54" fmla="*/ 572629 h 6858000"/>
              <a:gd name="connsiteX55" fmla="*/ 6522567 w 7463692"/>
              <a:gd name="connsiteY55" fmla="*/ 374040 h 6858000"/>
              <a:gd name="connsiteX56" fmla="*/ 6453390 w 7463692"/>
              <a:gd name="connsiteY56" fmla="*/ 296864 h 6858000"/>
              <a:gd name="connsiteX57" fmla="*/ 0 w 7463692"/>
              <a:gd name="connsiteY57" fmla="*/ 0 h 6858000"/>
              <a:gd name="connsiteX58" fmla="*/ 72289 w 7463692"/>
              <a:gd name="connsiteY58" fmla="*/ 0 h 6858000"/>
              <a:gd name="connsiteX59" fmla="*/ 2753286 w 7463692"/>
              <a:gd name="connsiteY59" fmla="*/ 0 h 6858000"/>
              <a:gd name="connsiteX60" fmla="*/ 7463692 w 7463692"/>
              <a:gd name="connsiteY60" fmla="*/ 0 h 6858000"/>
              <a:gd name="connsiteX61" fmla="*/ 7463692 w 7463692"/>
              <a:gd name="connsiteY61" fmla="*/ 6858000 h 6858000"/>
              <a:gd name="connsiteX62" fmla="*/ 2753286 w 7463692"/>
              <a:gd name="connsiteY62" fmla="*/ 6858000 h 6858000"/>
              <a:gd name="connsiteX63" fmla="*/ 427029 w 7463692"/>
              <a:gd name="connsiteY63" fmla="*/ 6858000 h 6858000"/>
              <a:gd name="connsiteX64" fmla="*/ 404158 w 7463692"/>
              <a:gd name="connsiteY64" fmla="*/ 6858000 h 6858000"/>
              <a:gd name="connsiteX65" fmla="*/ 415213 w 7463692"/>
              <a:gd name="connsiteY65" fmla="*/ 6841604 h 6858000"/>
              <a:gd name="connsiteX66" fmla="*/ 432029 w 7463692"/>
              <a:gd name="connsiteY66" fmla="*/ 6758309 h 6858000"/>
              <a:gd name="connsiteX67" fmla="*/ 432029 w 7463692"/>
              <a:gd name="connsiteY67" fmla="*/ 2203207 h 6858000"/>
              <a:gd name="connsiteX68" fmla="*/ 218039 w 7463692"/>
              <a:gd name="connsiteY68" fmla="*/ 1989217 h 6858000"/>
              <a:gd name="connsiteX69" fmla="*/ 0 w 7463692"/>
              <a:gd name="connsiteY69" fmla="*/ 19892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463692" h="6858000">
                <a:moveTo>
                  <a:pt x="6036214" y="454511"/>
                </a:moveTo>
                <a:cubicBezTo>
                  <a:pt x="6003038" y="454511"/>
                  <a:pt x="5976214" y="481335"/>
                  <a:pt x="5976214" y="514511"/>
                </a:cubicBezTo>
                <a:cubicBezTo>
                  <a:pt x="5976214" y="547687"/>
                  <a:pt x="6003038" y="574511"/>
                  <a:pt x="6036214" y="574511"/>
                </a:cubicBezTo>
                <a:cubicBezTo>
                  <a:pt x="6069391" y="574511"/>
                  <a:pt x="6096214" y="547687"/>
                  <a:pt x="6096214" y="514511"/>
                </a:cubicBezTo>
                <a:cubicBezTo>
                  <a:pt x="6096214" y="481335"/>
                  <a:pt x="6069391" y="454511"/>
                  <a:pt x="6036214" y="454511"/>
                </a:cubicBezTo>
                <a:close/>
                <a:moveTo>
                  <a:pt x="6975273" y="338982"/>
                </a:moveTo>
                <a:lnTo>
                  <a:pt x="7078802" y="338982"/>
                </a:lnTo>
                <a:lnTo>
                  <a:pt x="7078802" y="530746"/>
                </a:lnTo>
                <a:lnTo>
                  <a:pt x="6973155" y="530746"/>
                </a:lnTo>
                <a:cubicBezTo>
                  <a:pt x="6941861" y="530982"/>
                  <a:pt x="6910331" y="533099"/>
                  <a:pt x="6909390" y="492629"/>
                </a:cubicBezTo>
                <a:cubicBezTo>
                  <a:pt x="6909390" y="490982"/>
                  <a:pt x="6909155" y="476158"/>
                  <a:pt x="6909390" y="432864"/>
                </a:cubicBezTo>
                <a:cubicBezTo>
                  <a:pt x="6909626" y="396158"/>
                  <a:pt x="6909155" y="387452"/>
                  <a:pt x="6909390" y="383688"/>
                </a:cubicBezTo>
                <a:cubicBezTo>
                  <a:pt x="6911037" y="349805"/>
                  <a:pt x="6923508" y="337805"/>
                  <a:pt x="6975273" y="338982"/>
                </a:cubicBezTo>
                <a:close/>
                <a:moveTo>
                  <a:pt x="6957861" y="296864"/>
                </a:moveTo>
                <a:cubicBezTo>
                  <a:pt x="6912920" y="296864"/>
                  <a:pt x="6896214" y="303923"/>
                  <a:pt x="6883978" y="313805"/>
                </a:cubicBezTo>
                <a:cubicBezTo>
                  <a:pt x="6870567" y="324629"/>
                  <a:pt x="6858331" y="338040"/>
                  <a:pt x="6858096" y="384393"/>
                </a:cubicBezTo>
                <a:lnTo>
                  <a:pt x="6858096" y="483923"/>
                </a:lnTo>
                <a:cubicBezTo>
                  <a:pt x="6858096" y="532864"/>
                  <a:pt x="6871743" y="546746"/>
                  <a:pt x="6885625" y="558276"/>
                </a:cubicBezTo>
                <a:cubicBezTo>
                  <a:pt x="6895037" y="564864"/>
                  <a:pt x="6910567" y="572629"/>
                  <a:pt x="6958096" y="572629"/>
                </a:cubicBezTo>
                <a:lnTo>
                  <a:pt x="7078802" y="572629"/>
                </a:lnTo>
                <a:lnTo>
                  <a:pt x="7078802" y="583217"/>
                </a:lnTo>
                <a:cubicBezTo>
                  <a:pt x="7078802" y="604158"/>
                  <a:pt x="7074802" y="613099"/>
                  <a:pt x="7050802" y="613099"/>
                </a:cubicBezTo>
                <a:lnTo>
                  <a:pt x="6893390" y="613099"/>
                </a:lnTo>
                <a:lnTo>
                  <a:pt x="6893390" y="657335"/>
                </a:lnTo>
                <a:lnTo>
                  <a:pt x="7067037" y="657335"/>
                </a:lnTo>
                <a:cubicBezTo>
                  <a:pt x="7113861" y="657335"/>
                  <a:pt x="7128920" y="636393"/>
                  <a:pt x="7128920" y="597099"/>
                </a:cubicBezTo>
                <a:lnTo>
                  <a:pt x="7128920" y="296864"/>
                </a:lnTo>
                <a:close/>
                <a:moveTo>
                  <a:pt x="6623273" y="296864"/>
                </a:moveTo>
                <a:cubicBezTo>
                  <a:pt x="6568920" y="296864"/>
                  <a:pt x="6552449" y="333099"/>
                  <a:pt x="6552449" y="373335"/>
                </a:cubicBezTo>
                <a:cubicBezTo>
                  <a:pt x="6552449" y="416629"/>
                  <a:pt x="6570331" y="452864"/>
                  <a:pt x="6619743" y="452864"/>
                </a:cubicBezTo>
                <a:lnTo>
                  <a:pt x="6739508" y="452864"/>
                </a:lnTo>
                <a:cubicBezTo>
                  <a:pt x="6776214" y="452864"/>
                  <a:pt x="6776214" y="481099"/>
                  <a:pt x="6776214" y="494040"/>
                </a:cubicBezTo>
                <a:cubicBezTo>
                  <a:pt x="6776214" y="506040"/>
                  <a:pt x="6776214" y="530746"/>
                  <a:pt x="6740449" y="530746"/>
                </a:cubicBezTo>
                <a:lnTo>
                  <a:pt x="6557155" y="530746"/>
                </a:lnTo>
                <a:lnTo>
                  <a:pt x="6557155" y="572864"/>
                </a:lnTo>
                <a:lnTo>
                  <a:pt x="6761626" y="572864"/>
                </a:lnTo>
                <a:cubicBezTo>
                  <a:pt x="6812685" y="572864"/>
                  <a:pt x="6827273" y="542982"/>
                  <a:pt x="6827273" y="494511"/>
                </a:cubicBezTo>
                <a:cubicBezTo>
                  <a:pt x="6827273" y="436864"/>
                  <a:pt x="6808449" y="411217"/>
                  <a:pt x="6764920" y="411217"/>
                </a:cubicBezTo>
                <a:lnTo>
                  <a:pt x="6635508" y="411217"/>
                </a:lnTo>
                <a:cubicBezTo>
                  <a:pt x="6602802" y="411217"/>
                  <a:pt x="6602802" y="389099"/>
                  <a:pt x="6602802" y="374511"/>
                </a:cubicBezTo>
                <a:cubicBezTo>
                  <a:pt x="6602802" y="362982"/>
                  <a:pt x="6606096" y="338982"/>
                  <a:pt x="6640920" y="338982"/>
                </a:cubicBezTo>
                <a:lnTo>
                  <a:pt x="6817626" y="338982"/>
                </a:lnTo>
                <a:lnTo>
                  <a:pt x="6817626" y="297099"/>
                </a:lnTo>
                <a:close/>
                <a:moveTo>
                  <a:pt x="6135037" y="296864"/>
                </a:moveTo>
                <a:lnTo>
                  <a:pt x="6135037" y="572629"/>
                </a:lnTo>
                <a:lnTo>
                  <a:pt x="6185390" y="572629"/>
                </a:lnTo>
                <a:lnTo>
                  <a:pt x="6185390" y="338746"/>
                </a:lnTo>
                <a:lnTo>
                  <a:pt x="6300684" y="338746"/>
                </a:lnTo>
                <a:lnTo>
                  <a:pt x="6300684" y="572629"/>
                </a:lnTo>
                <a:lnTo>
                  <a:pt x="6351272" y="572629"/>
                </a:lnTo>
                <a:lnTo>
                  <a:pt x="6351272" y="338746"/>
                </a:lnTo>
                <a:lnTo>
                  <a:pt x="6427978" y="338746"/>
                </a:lnTo>
                <a:cubicBezTo>
                  <a:pt x="6453861" y="338746"/>
                  <a:pt x="6472214" y="354276"/>
                  <a:pt x="6472214" y="387923"/>
                </a:cubicBezTo>
                <a:lnTo>
                  <a:pt x="6472214" y="572629"/>
                </a:lnTo>
                <a:lnTo>
                  <a:pt x="6522567" y="572629"/>
                </a:lnTo>
                <a:lnTo>
                  <a:pt x="6522567" y="374040"/>
                </a:lnTo>
                <a:cubicBezTo>
                  <a:pt x="6522567" y="336393"/>
                  <a:pt x="6503273" y="296864"/>
                  <a:pt x="6453390" y="296864"/>
                </a:cubicBezTo>
                <a:close/>
                <a:moveTo>
                  <a:pt x="0" y="0"/>
                </a:moveTo>
                <a:lnTo>
                  <a:pt x="72289" y="0"/>
                </a:lnTo>
                <a:lnTo>
                  <a:pt x="2753286" y="0"/>
                </a:lnTo>
                <a:lnTo>
                  <a:pt x="7463692" y="0"/>
                </a:lnTo>
                <a:lnTo>
                  <a:pt x="7463692" y="6858000"/>
                </a:lnTo>
                <a:lnTo>
                  <a:pt x="2753286" y="6858000"/>
                </a:lnTo>
                <a:lnTo>
                  <a:pt x="427029" y="6858000"/>
                </a:lnTo>
                <a:lnTo>
                  <a:pt x="404158" y="6858000"/>
                </a:lnTo>
                <a:lnTo>
                  <a:pt x="415213" y="6841604"/>
                </a:lnTo>
                <a:cubicBezTo>
                  <a:pt x="426041" y="6816002"/>
                  <a:pt x="432029" y="6787855"/>
                  <a:pt x="432029" y="6758309"/>
                </a:cubicBezTo>
                <a:lnTo>
                  <a:pt x="432029" y="2203207"/>
                </a:lnTo>
                <a:cubicBezTo>
                  <a:pt x="432029" y="2085024"/>
                  <a:pt x="336222" y="1989217"/>
                  <a:pt x="218039" y="1989217"/>
                </a:cubicBezTo>
                <a:lnTo>
                  <a:pt x="0" y="1989217"/>
                </a:lnTo>
                <a:close/>
              </a:path>
            </a:pathLst>
          </a:custGeom>
          <a:solidFill>
            <a:schemeClr val="bg2"/>
          </a:solidFill>
        </p:spPr>
        <p:txBody>
          <a:bodyPr wrap="square">
            <a:noAutofit/>
          </a:bodyPr>
          <a:lstStyle/>
          <a:p>
            <a:r>
              <a:rPr lang="de-DE"/>
              <a:t>Bild durch Klicken auf Symbol hinzufügen</a:t>
            </a:r>
          </a:p>
        </p:txBody>
      </p:sp>
      <p:sp>
        <p:nvSpPr>
          <p:cNvPr id="30" name="Textplatzhalter Kapitelnummer">
            <a:extLst>
              <a:ext uri="{FF2B5EF4-FFF2-40B4-BE49-F238E27FC236}">
                <a16:creationId xmlns:a16="http://schemas.microsoft.com/office/drawing/2014/main" id="{15D7F58E-36BA-9C1C-CCD4-7D67906B7F73}"/>
              </a:ext>
            </a:extLst>
          </p:cNvPr>
          <p:cNvSpPr>
            <a:spLocks noGrp="1"/>
          </p:cNvSpPr>
          <p:nvPr>
            <p:ph type="body" sz="quarter" idx="14" hasCustomPrompt="1"/>
          </p:nvPr>
        </p:nvSpPr>
        <p:spPr bwMode="gray">
          <a:xfrm>
            <a:off x="623888" y="1336675"/>
            <a:ext cx="432000" cy="432000"/>
          </a:xfrm>
          <a:prstGeom prst="ellipse">
            <a:avLst/>
          </a:prstGeom>
          <a:solidFill>
            <a:schemeClr val="accent1"/>
          </a:solidFill>
        </p:spPr>
        <p:txBody>
          <a:bodyPr anchor="ctr"/>
          <a:lstStyle>
            <a:lvl1pPr algn="ctr">
              <a:defRPr sz="1600" b="1">
                <a:solidFill>
                  <a:schemeClr val="bg1"/>
                </a:solidFill>
                <a:latin typeface="+mj-lt"/>
              </a:defRPr>
            </a:lvl1pPr>
          </a:lstStyle>
          <a:p>
            <a:pPr lvl="0"/>
            <a:r>
              <a:rPr lang="de-DE"/>
              <a:t>00</a:t>
            </a:r>
          </a:p>
        </p:txBody>
      </p:sp>
      <p:sp>
        <p:nvSpPr>
          <p:cNvPr id="2" name="Textplatzhalter Titel">
            <a:extLst>
              <a:ext uri="{FF2B5EF4-FFF2-40B4-BE49-F238E27FC236}">
                <a16:creationId xmlns:a16="http://schemas.microsoft.com/office/drawing/2014/main" id="{B545046E-39AA-5646-D331-802F7889BAA8}"/>
              </a:ext>
            </a:extLst>
          </p:cNvPr>
          <p:cNvSpPr>
            <a:spLocks noGrp="1"/>
          </p:cNvSpPr>
          <p:nvPr>
            <p:ph type="title"/>
          </p:nvPr>
        </p:nvSpPr>
        <p:spPr bwMode="gray">
          <a:xfrm>
            <a:off x="623887" y="1991397"/>
            <a:ext cx="3888391" cy="1077708"/>
          </a:xfrm>
        </p:spPr>
        <p:txBody>
          <a:bodyPr vert="horz" lIns="0" tIns="0" rIns="0" bIns="0" anchor="t">
            <a:noAutofit/>
          </a:bodyPr>
          <a:lstStyle>
            <a:lvl1pPr rtl="0">
              <a:lnSpc>
                <a:spcPct val="100000"/>
              </a:lnSpc>
              <a:spcAft>
                <a:spcPts val="600"/>
              </a:spcAft>
              <a:defRPr sz="3600">
                <a:solidFill>
                  <a:schemeClr val="accent1"/>
                </a:solidFill>
              </a:defRPr>
            </a:lvl1pPr>
          </a:lstStyle>
          <a:p>
            <a:r>
              <a:rPr lang="de-DE"/>
              <a:t>Mastertitelformat bearbeiten</a:t>
            </a:r>
          </a:p>
        </p:txBody>
      </p:sp>
      <p:sp>
        <p:nvSpPr>
          <p:cNvPr id="19" name="Textplatzhalter Subtitle">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623887" y="3292353"/>
            <a:ext cx="3888391" cy="424690"/>
          </a:xfrm>
          <a:noFill/>
        </p:spPr>
        <p:txBody>
          <a:bodyPr wrap="square" lIns="0" tIns="0" rIns="0" bIns="0" anchor="t">
            <a:noAutofit/>
          </a:bodyPr>
          <a:lstStyle>
            <a:lvl1pPr rtl="0">
              <a:defRPr sz="2000" b="0">
                <a:solidFill>
                  <a:schemeClr val="tx1"/>
                </a:solidFill>
              </a:defRPr>
            </a:lvl1pPr>
          </a:lstStyle>
          <a:p>
            <a:pPr lvl="0"/>
            <a:r>
              <a:rPr lang="de-DE" err="1"/>
              <a:t>Subtitle</a:t>
            </a:r>
            <a:r>
              <a:rPr lang="de-DE"/>
              <a:t> einfügen</a:t>
            </a:r>
          </a:p>
        </p:txBody>
      </p:sp>
      <p:sp>
        <p:nvSpPr>
          <p:cNvPr id="192" name="Fußzeilenplatzhalter">
            <a:extLst>
              <a:ext uri="{FF2B5EF4-FFF2-40B4-BE49-F238E27FC236}">
                <a16:creationId xmlns:a16="http://schemas.microsoft.com/office/drawing/2014/main" id="{4CC5C821-AB6C-4244-5ABE-4CEAB02BE5B0}"/>
              </a:ext>
            </a:extLst>
          </p:cNvPr>
          <p:cNvSpPr>
            <a:spLocks noGrp="1"/>
          </p:cNvSpPr>
          <p:nvPr>
            <p:ph type="ftr" sz="quarter" idx="15"/>
          </p:nvPr>
        </p:nvSpPr>
        <p:spPr>
          <a:xfrm>
            <a:off x="1271955" y="6443762"/>
            <a:ext cx="3671948" cy="153888"/>
          </a:xfrm>
        </p:spPr>
        <p:txBody>
          <a:bodyPr/>
          <a:lstStyle/>
          <a:p>
            <a:r>
              <a:rPr lang="en-US" dirty="0"/>
              <a:t>© msg systems ag | 2026 | msg Company Presentation</a:t>
            </a:r>
            <a:endParaRPr lang="de-DE" dirty="0"/>
          </a:p>
        </p:txBody>
      </p:sp>
      <p:sp>
        <p:nvSpPr>
          <p:cNvPr id="193" name="Foliennummernplatzhalter">
            <a:extLst>
              <a:ext uri="{FF2B5EF4-FFF2-40B4-BE49-F238E27FC236}">
                <a16:creationId xmlns:a16="http://schemas.microsoft.com/office/drawing/2014/main" id="{6D38364E-5AE9-7D62-E8EA-838585EB2222}"/>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B2DF044B-E3D3-4AC6-BB8C-4A94EAA0A30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A8D6AE26-6C3B-A1F5-CFB1-222C89F1B9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95AC01D-45B0-0B0C-ABC7-05769A5BC19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1DE09D3-C134-66E7-37B4-B6574BCB993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8057F2B-30FB-F611-74D6-A8CCB13F8AF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8FD79B80-2C2B-2A37-BAE6-9A4560CC221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B29EBAF0-F2F1-01FD-0169-23CC6A456A4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8ABE2352-A5E5-5EF6-21C0-DAF60287AAA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F4883AD6-9AF7-5A09-4F0B-02F59FFCE285}"/>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13DC920E-093A-F9EC-59F6-6F19CC93A972}"/>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2CD9FB50-5ADF-675B-B994-5DACA6BF0E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1993A5D7-FC4A-CC9E-5A54-9D07B996AA7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22E90637-7306-39C2-2EFF-4255ACCF24A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7BA25234-23B8-4618-3F9D-2084E7BAE40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7E4E59E6-EEF3-A2EC-0FCD-A4E442F2E4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818146FD-9F3D-F16E-D2DF-ABD0C683C67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928375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apitel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159755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70"/>
            <a:ext cx="6264631"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504000" tIns="216000" rIns="288000" bIns="216000" anchor="t">
            <a:noAutofit/>
          </a:bodyPr>
          <a:lstStyle>
            <a:lvl1pPr rtl="0">
              <a:spcAft>
                <a:spcPts val="600"/>
              </a:spcAft>
              <a:defRPr sz="3600">
                <a:solidFill>
                  <a:schemeClr val="accent1"/>
                </a:solidFill>
              </a:defRPr>
            </a:lvl1pPr>
          </a:lstStyle>
          <a:p>
            <a:r>
              <a:rPr lang="de-DE"/>
              <a:t>Mastertitelformat bearbeiten</a:t>
            </a:r>
          </a:p>
        </p:txBody>
      </p:sp>
      <p:sp>
        <p:nvSpPr>
          <p:cNvPr id="3" name="Textplatzhalter 2">
            <a:extLst>
              <a:ext uri="{FF2B5EF4-FFF2-40B4-BE49-F238E27FC236}">
                <a16:creationId xmlns:a16="http://schemas.microsoft.com/office/drawing/2014/main" id="{36EC5C41-9428-78A5-50CC-C362CA7CBD1E}"/>
              </a:ext>
            </a:extLst>
          </p:cNvPr>
          <p:cNvSpPr>
            <a:spLocks noGrp="1"/>
          </p:cNvSpPr>
          <p:nvPr>
            <p:ph type="body" sz="quarter" idx="17" hasCustomPrompt="1"/>
          </p:nvPr>
        </p:nvSpPr>
        <p:spPr>
          <a:xfrm>
            <a:off x="306388" y="3771900"/>
            <a:ext cx="635000" cy="635000"/>
          </a:xfrm>
          <a:prstGeom prst="ellipse">
            <a:avLst/>
          </a:prstGeom>
          <a:blipFill>
            <a:blip r:embed="rId5"/>
            <a:stretch>
              <a:fillRect/>
            </a:stretch>
          </a:blipFill>
        </p:spPr>
        <p:txBody>
          <a:bodyPr anchor="ctr"/>
          <a:lstStyle>
            <a:lvl1pPr algn="ctr">
              <a:defRPr sz="2400" b="1">
                <a:solidFill>
                  <a:schemeClr val="accent1"/>
                </a:solidFill>
                <a:latin typeface="+mj-lt"/>
              </a:defRPr>
            </a:lvl1pPr>
          </a:lstStyle>
          <a:p>
            <a:pPr lvl="0"/>
            <a:r>
              <a:rPr lang="de-DE"/>
              <a:t>01</a:t>
            </a:r>
          </a:p>
        </p:txBody>
      </p:sp>
      <p:sp>
        <p:nvSpPr>
          <p:cNvPr id="74" name="Fußzeilenplatzhalter 73">
            <a:extLst>
              <a:ext uri="{FF2B5EF4-FFF2-40B4-BE49-F238E27FC236}">
                <a16:creationId xmlns:a16="http://schemas.microsoft.com/office/drawing/2014/main" id="{0CA78F98-4683-CEF1-5C75-1D7B04EAA2D4}"/>
              </a:ext>
            </a:extLst>
          </p:cNvPr>
          <p:cNvSpPr>
            <a:spLocks noGrp="1"/>
          </p:cNvSpPr>
          <p:nvPr>
            <p:ph type="ftr" sz="quarter" idx="18"/>
          </p:nvPr>
        </p:nvSpPr>
        <p:spPr/>
        <p:txBody>
          <a:bodyPr/>
          <a:lstStyle/>
          <a:p>
            <a:r>
              <a:rPr lang="en-US" dirty="0"/>
              <a:t>© msg systems ag | 2026 | msg Company Presentation</a:t>
            </a:r>
            <a:endParaRPr lang="de-DE" dirty="0"/>
          </a:p>
        </p:txBody>
      </p:sp>
      <p:sp>
        <p:nvSpPr>
          <p:cNvPr id="85" name="Foliennummernplatzhalter 84">
            <a:extLst>
              <a:ext uri="{FF2B5EF4-FFF2-40B4-BE49-F238E27FC236}">
                <a16:creationId xmlns:a16="http://schemas.microsoft.com/office/drawing/2014/main" id="{ED0CB22B-9AFB-D51E-1E56-8D72B900EEDB}"/>
              </a:ext>
            </a:extLst>
          </p:cNvPr>
          <p:cNvSpPr>
            <a:spLocks noGrp="1"/>
          </p:cNvSpPr>
          <p:nvPr>
            <p:ph type="sldNum" sz="quarter" idx="19"/>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1" name="Gruppieren 110">
            <a:extLst>
              <a:ext uri="{FF2B5EF4-FFF2-40B4-BE49-F238E27FC236}">
                <a16:creationId xmlns:a16="http://schemas.microsoft.com/office/drawing/2014/main" id="{A18D47CB-C83F-42CE-2E62-3D6D05605C9A}"/>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12" name="Gerader Verbinder 111">
              <a:extLst>
                <a:ext uri="{FF2B5EF4-FFF2-40B4-BE49-F238E27FC236}">
                  <a16:creationId xmlns:a16="http://schemas.microsoft.com/office/drawing/2014/main" id="{3606E6E8-565A-4EA3-97DC-60AF8D1E5F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0F6256DE-8F8F-08CF-0F80-26DB2565322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61F45AD2-FAF3-2F94-FAED-D0D41107CE0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18C7D4F5-19AB-4B6B-EDDF-9AA146D90F0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B1B1191-05E9-7224-F7D6-E47A86A0638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EC780526-E377-241F-F512-87F31E4EAC5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47CA7E2E-D34B-8C00-9B93-7F6644503F5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C4951A20-840C-7322-212E-577C5C1357F4}"/>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7" name="Gerader Verbinder 196">
              <a:extLst>
                <a:ext uri="{FF2B5EF4-FFF2-40B4-BE49-F238E27FC236}">
                  <a16:creationId xmlns:a16="http://schemas.microsoft.com/office/drawing/2014/main" id="{F919F82A-9F90-9AFA-9AA6-C25AF48481B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0E9F867-7D7E-052D-5F6D-20731BF5EE2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DF1C4F-8A2F-A428-0A0D-726096817EC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FAA951C7-A55B-633C-4696-791ACAA6EDC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065F85B-564B-93BB-921F-7287AA187C7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431EA9C-9565-1D0D-E792-4D3CFB81BC4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51DF7004-6509-D765-EBDC-D6E30954DB5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49722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el 3">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327791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69"/>
            <a:ext cx="6284912"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1008000" tIns="216000" rIns="288000" bIns="216000" anchor="t">
            <a:noAutofit/>
          </a:bodyPr>
          <a:lstStyle>
            <a:lvl1pPr rtl="0">
              <a:spcAft>
                <a:spcPts val="600"/>
              </a:spcAft>
              <a:defRPr sz="3600">
                <a:solidFill>
                  <a:schemeClr val="accent1"/>
                </a:solidFill>
              </a:defRPr>
            </a:lvl1pPr>
          </a:lstStyle>
          <a:p>
            <a:r>
              <a:rPr lang="de-DE"/>
              <a:t>Mastertitelformat bearbeiten</a:t>
            </a:r>
          </a:p>
        </p:txBody>
      </p:sp>
      <p:sp>
        <p:nvSpPr>
          <p:cNvPr id="3" name="Textplatzhalter 2">
            <a:extLst>
              <a:ext uri="{FF2B5EF4-FFF2-40B4-BE49-F238E27FC236}">
                <a16:creationId xmlns:a16="http://schemas.microsoft.com/office/drawing/2014/main" id="{FBE249F0-AC7A-6A7E-2976-07517C51C45C}"/>
              </a:ext>
            </a:extLst>
          </p:cNvPr>
          <p:cNvSpPr>
            <a:spLocks noGrp="1"/>
          </p:cNvSpPr>
          <p:nvPr>
            <p:ph type="body" sz="quarter" idx="17" hasCustomPrompt="1"/>
          </p:nvPr>
        </p:nvSpPr>
        <p:spPr>
          <a:xfrm>
            <a:off x="623887" y="3501070"/>
            <a:ext cx="800100" cy="772107"/>
          </a:xfrm>
        </p:spPr>
        <p:txBody>
          <a:bodyPr lIns="288000" tIns="216000">
            <a:noAutofit/>
          </a:bodyPr>
          <a:lstStyle>
            <a:lvl1pPr algn="r">
              <a:defRPr sz="3600" b="1">
                <a:solidFill>
                  <a:schemeClr val="accent1"/>
                </a:solidFill>
                <a:latin typeface="+mj-lt"/>
              </a:defRPr>
            </a:lvl1pPr>
          </a:lstStyle>
          <a:p>
            <a:pPr lvl="0"/>
            <a:r>
              <a:rPr lang="de-DE"/>
              <a:t>01</a:t>
            </a:r>
          </a:p>
        </p:txBody>
      </p:sp>
      <p:sp>
        <p:nvSpPr>
          <p:cNvPr id="30" name="Fußzeilenplatzhalter 29">
            <a:extLst>
              <a:ext uri="{FF2B5EF4-FFF2-40B4-BE49-F238E27FC236}">
                <a16:creationId xmlns:a16="http://schemas.microsoft.com/office/drawing/2014/main" id="{AB3B4481-ACE7-EC01-A2C2-1A6C55C2CB1F}"/>
              </a:ext>
            </a:extLst>
          </p:cNvPr>
          <p:cNvSpPr>
            <a:spLocks noGrp="1"/>
          </p:cNvSpPr>
          <p:nvPr>
            <p:ph type="ftr" sz="quarter" idx="18"/>
          </p:nvPr>
        </p:nvSpPr>
        <p:spPr/>
        <p:txBody>
          <a:bodyPr/>
          <a:lstStyle/>
          <a:p>
            <a:r>
              <a:rPr lang="en-US" dirty="0"/>
              <a:t>© msg systems ag | 2026 | msg Company Presentation</a:t>
            </a:r>
            <a:endParaRPr lang="de-DE" dirty="0"/>
          </a:p>
        </p:txBody>
      </p:sp>
      <p:sp>
        <p:nvSpPr>
          <p:cNvPr id="73" name="Foliennummernplatzhalter 72">
            <a:extLst>
              <a:ext uri="{FF2B5EF4-FFF2-40B4-BE49-F238E27FC236}">
                <a16:creationId xmlns:a16="http://schemas.microsoft.com/office/drawing/2014/main" id="{687FF98D-9179-89D6-B2D1-19E157813367}"/>
              </a:ext>
            </a:extLst>
          </p:cNvPr>
          <p:cNvSpPr>
            <a:spLocks noGrp="1"/>
          </p:cNvSpPr>
          <p:nvPr>
            <p:ph type="sldNum" sz="quarter" idx="19"/>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74" name="Gruppieren 73">
            <a:extLst>
              <a:ext uri="{FF2B5EF4-FFF2-40B4-BE49-F238E27FC236}">
                <a16:creationId xmlns:a16="http://schemas.microsoft.com/office/drawing/2014/main" id="{664E7908-DBD1-F7A9-1BFB-CB99F440DEB7}"/>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85" name="Gerader Verbinder 84">
              <a:extLst>
                <a:ext uri="{FF2B5EF4-FFF2-40B4-BE49-F238E27FC236}">
                  <a16:creationId xmlns:a16="http://schemas.microsoft.com/office/drawing/2014/main" id="{3569A712-8A5D-61A9-A4E2-A66D7DF4136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5F4C2EB6-5306-EED4-C63B-B258B284337D}"/>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BF5A0AFC-C635-255F-B34C-9740433A2AE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D8F9C328-FF3B-D652-2F1B-495F008A1A9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B57D5572-CC62-B60E-67F7-1F2F25BEDBD3}"/>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D32CF0AB-B445-A814-7D1B-0BFB0DAC7E7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0A7BCC33-CF5C-1616-52F2-884E1C277F5D}"/>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5C834498-9640-5918-501F-1DE7C8A09F2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FB855145-B12E-78F7-DA5F-2449FF7C3C6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3A21647-9DBA-0807-48F2-78AFC1BA8F3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BA4216C1-1CC0-B713-4472-BBA62EB34542}"/>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56CA3E9-87F7-1EAC-37AB-01022F50DA8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D026C257-E2CE-EA9B-2EE8-240F9342FF3D}"/>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43532555-4104-CDAA-BB37-3521FAA2EA2B}"/>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91E8425-E3A4-9374-EBB5-B12E40FA865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9620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508901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gray">
          <a:xfrm>
            <a:off x="623888" y="1773239"/>
            <a:ext cx="11233150" cy="431958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dirty="0"/>
              <a:t>© msg systems ag | 2026 | msg Company Pre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103819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dirty="0"/>
              <a:t>© msg systems ag | 2026 | msg Company Pre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7239418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DE90A7-8267-18E1-E5C9-DF0778EB22B2}"/>
              </a:ext>
            </a:extLst>
          </p:cNvPr>
          <p:cNvGraphicFramePr>
            <a:graphicFrameLocks noChangeAspect="1"/>
          </p:cNvGraphicFramePr>
          <p:nvPr userDrawn="1">
            <p:custDataLst>
              <p:tags r:id="rId29"/>
            </p:custDataLst>
            <p:extLst>
              <p:ext uri="{D42A27DB-BD31-4B8C-83A1-F6EECF244321}">
                <p14:modId xmlns:p14="http://schemas.microsoft.com/office/powerpoint/2010/main" val="92528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0" imgW="306" imgH="306" progId="TCLayout.ActiveDocument.1">
                  <p:embed/>
                </p:oleObj>
              </mc:Choice>
              <mc:Fallback>
                <p:oleObj name="think-cell Folie" r:id="rId30" imgW="306" imgH="306" progId="TCLayout.ActiveDocument.1">
                  <p:embed/>
                  <p:pic>
                    <p:nvPicPr>
                      <p:cNvPr id="10" name="think-cell data - do not delete" hidden="1">
                        <a:extLst>
                          <a:ext uri="{FF2B5EF4-FFF2-40B4-BE49-F238E27FC236}">
                            <a16:creationId xmlns:a16="http://schemas.microsoft.com/office/drawing/2014/main" id="{E7DE90A7-8267-18E1-E5C9-DF0778EB22B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1DEA57D-0933-330D-1A21-BBBCBFBC2C04}"/>
              </a:ext>
            </a:extLst>
          </p:cNvPr>
          <p:cNvSpPr>
            <a:spLocks noGrp="1"/>
          </p:cNvSpPr>
          <p:nvPr>
            <p:ph type="title"/>
          </p:nvPr>
        </p:nvSpPr>
        <p:spPr bwMode="gray">
          <a:xfrm>
            <a:off x="623888" y="620713"/>
            <a:ext cx="9488833" cy="738664"/>
          </a:xfrm>
          <a:prstGeom prst="rect">
            <a:avLst/>
          </a:prstGeom>
        </p:spPr>
        <p:txBody>
          <a:bodyPr vert="horz" lIns="0" tIns="0" rIns="0" bIns="0" rtlCol="0" anchor="t">
            <a:noAutofit/>
          </a:bodyPr>
          <a:lstStyle/>
          <a:p>
            <a:r>
              <a:rPr lang="de-DE"/>
              <a:t>Mastertitelformat bearbeiten</a:t>
            </a:r>
          </a:p>
        </p:txBody>
      </p:sp>
      <p:sp>
        <p:nvSpPr>
          <p:cNvPr id="3" name="Textplatzhalter 2">
            <a:extLst>
              <a:ext uri="{FF2B5EF4-FFF2-40B4-BE49-F238E27FC236}">
                <a16:creationId xmlns:a16="http://schemas.microsoft.com/office/drawing/2014/main" id="{793217BA-CEB0-14EF-174A-68F190647F8C}"/>
              </a:ext>
            </a:extLst>
          </p:cNvPr>
          <p:cNvSpPr>
            <a:spLocks noGrp="1"/>
          </p:cNvSpPr>
          <p:nvPr>
            <p:ph type="body" idx="1"/>
          </p:nvPr>
        </p:nvSpPr>
        <p:spPr bwMode="gray">
          <a:xfrm>
            <a:off x="623888" y="1773239"/>
            <a:ext cx="11233150" cy="4319586"/>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a:extLst>
              <a:ext uri="{FF2B5EF4-FFF2-40B4-BE49-F238E27FC236}">
                <a16:creationId xmlns:a16="http://schemas.microsoft.com/office/drawing/2014/main" id="{56803C33-DFCA-0187-4058-79FBA6BBAD89}"/>
              </a:ext>
              <a:ext uri="{C183D7F6-B498-43B3-948B-1728B52AA6E4}">
                <adec:decorative xmlns:adec="http://schemas.microsoft.com/office/drawing/2017/decorative" val="0"/>
              </a:ext>
            </a:extLst>
          </p:cNvPr>
          <p:cNvSpPr>
            <a:spLocks noGrp="1"/>
          </p:cNvSpPr>
          <p:nvPr>
            <p:ph type="ftr" sz="quarter" idx="3"/>
          </p:nvPr>
        </p:nvSpPr>
        <p:spPr bwMode="gray">
          <a:xfrm>
            <a:off x="623888" y="6443762"/>
            <a:ext cx="4968501" cy="153888"/>
          </a:xfrm>
          <a:prstGeom prst="rect">
            <a:avLst/>
          </a:prstGeom>
        </p:spPr>
        <p:txBody>
          <a:bodyPr vert="horz" lIns="0" tIns="0" rIns="0" bIns="0" rtlCol="0" anchor="ctr">
            <a:noAutofit/>
          </a:bodyPr>
          <a:lstStyle>
            <a:lvl1pPr algn="l" rtl="0">
              <a:defRPr sz="1000">
                <a:solidFill>
                  <a:schemeClr val="tx1"/>
                </a:solidFill>
              </a:defRPr>
            </a:lvl1pPr>
          </a:lstStyle>
          <a:p>
            <a:r>
              <a:rPr lang="en-US" dirty="0"/>
              <a:t>© msg systems ag | 2026 | msg Company Presentation</a:t>
            </a:r>
            <a:endParaRPr lang="de-DE" dirty="0"/>
          </a:p>
        </p:txBody>
      </p:sp>
      <p:sp>
        <p:nvSpPr>
          <p:cNvPr id="6" name="Foliennummernplatzhalter 5">
            <a:extLst>
              <a:ext uri="{FF2B5EF4-FFF2-40B4-BE49-F238E27FC236}">
                <a16:creationId xmlns:a16="http://schemas.microsoft.com/office/drawing/2014/main" id="{80A50D41-4A4A-3A00-D066-0137414EC1DD}"/>
              </a:ext>
            </a:extLst>
          </p:cNvPr>
          <p:cNvSpPr>
            <a:spLocks noGrp="1"/>
          </p:cNvSpPr>
          <p:nvPr>
            <p:ph type="sldNum" sz="quarter" idx="4"/>
          </p:nvPr>
        </p:nvSpPr>
        <p:spPr bwMode="gray">
          <a:xfrm>
            <a:off x="11425418" y="6443762"/>
            <a:ext cx="431620" cy="153888"/>
          </a:xfrm>
          <a:prstGeom prst="rect">
            <a:avLst/>
          </a:prstGeom>
        </p:spPr>
        <p:txBody>
          <a:bodyPr vert="horz" lIns="0" tIns="0" rIns="0" bIns="0" rtlCol="0" anchor="ctr">
            <a:noAutofit/>
          </a:bodyPr>
          <a:lstStyle>
            <a:lvl1pPr algn="r" rtl="0">
              <a:defRPr sz="1000">
                <a:solidFill>
                  <a:schemeClr val="tx1"/>
                </a:solidFill>
              </a:defRPr>
            </a:lvl1pPr>
          </a:lstStyle>
          <a:p>
            <a:fld id="{1FBD72F1-A42A-46B0-A7F8-CE6A9835826C}" type="slidenum">
              <a:rPr lang="de-DE" smtClean="0"/>
              <a:pPr/>
              <a:t>‹Nr.›</a:t>
            </a:fld>
            <a:endParaRPr lang="de-DE"/>
          </a:p>
        </p:txBody>
      </p:sp>
      <p:pic>
        <p:nvPicPr>
          <p:cNvPr id="24" name="Grafik 23">
            <a:extLst>
              <a:ext uri="{FF2B5EF4-FFF2-40B4-BE49-F238E27FC236}">
                <a16:creationId xmlns:a16="http://schemas.microsoft.com/office/drawing/2014/main" id="{E593CF5D-66D3-4942-D679-8C05C8B4D194}"/>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2"/>
              </a:ext>
            </a:extLst>
          </a:blip>
          <a:stretch>
            <a:fillRect/>
          </a:stretch>
        </p:blipFill>
        <p:spPr bwMode="gray">
          <a:xfrm>
            <a:off x="10704521" y="296864"/>
            <a:ext cx="1152942" cy="360000"/>
          </a:xfrm>
          <a:prstGeom prst="rect">
            <a:avLst/>
          </a:prstGeom>
        </p:spPr>
      </p:pic>
      <p:grpSp>
        <p:nvGrpSpPr>
          <p:cNvPr id="51" name="Gruppieren 50">
            <a:extLst>
              <a:ext uri="{FF2B5EF4-FFF2-40B4-BE49-F238E27FC236}">
                <a16:creationId xmlns:a16="http://schemas.microsoft.com/office/drawing/2014/main" id="{21108446-39FE-245F-79D9-41783CB89BEE}"/>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47AB9056-763D-CF2A-3835-E966E55E569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7D0FFE5-048B-3A95-0677-A53C84D9238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91A657DD-1BA7-D30E-D368-3E6D9BCC44CE}"/>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55" name="Gerader Verbinder 54">
              <a:extLst>
                <a:ext uri="{FF2B5EF4-FFF2-40B4-BE49-F238E27FC236}">
                  <a16:creationId xmlns:a16="http://schemas.microsoft.com/office/drawing/2014/main" id="{2760F9A3-85A8-DE29-B9FD-358213D43B5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BEC9F7A1-C306-6D42-876F-D6EB95AEB9B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DC65ECE-BB1C-B2E8-220C-45A0BC4588B9}"/>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1A9E2C52-F86C-3C7B-9CE6-DDAF8AF98E2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664211CC-89CB-3EDC-2AB4-75C908837F2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5B340371-035E-1547-C4D8-0ADB3A264B7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0DF5521C-891E-945F-5F9D-47E65D93F574}"/>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D7D20B56-359C-61C7-0969-27A1EB3C1F75}"/>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9AEAE70D-767B-D3C8-A4F3-01CAEECA405D}"/>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3D599645-FF85-81D7-A522-CFECE2EFA75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5" name="Gruppieren 64">
            <a:extLst>
              <a:ext uri="{FF2B5EF4-FFF2-40B4-BE49-F238E27FC236}">
                <a16:creationId xmlns:a16="http://schemas.microsoft.com/office/drawing/2014/main" id="{5C6E8BDB-4BA9-0655-E433-75329E1034EE}"/>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66" name="Gerader Verbinder 65">
              <a:extLst>
                <a:ext uri="{FF2B5EF4-FFF2-40B4-BE49-F238E27FC236}">
                  <a16:creationId xmlns:a16="http://schemas.microsoft.com/office/drawing/2014/main" id="{41D143D4-1273-746F-FC09-13C960C4D0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ACFC045-DDBE-F783-CA7B-919618C51C7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98D9EB8-D152-7419-38A8-D10BE1A1364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1F5E32CE-7C39-2482-9352-12138BCC719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63494F2-D9AF-07E9-74E4-C451B89031A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44AF45AE-F439-5CB9-C87F-67764869855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0CB1B86-91C0-2AE0-1834-58FEEA66CCB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7463193"/>
      </p:ext>
    </p:extLst>
  </p:cSld>
  <p:clrMap bg1="lt1" tx1="dk1" bg2="lt2" tx2="dk2" accent1="accent1" accent2="accent2" accent3="accent3" accent4="accent4" accent5="accent5" accent6="accent6" hlink="hlink" folHlink="folHlink"/>
  <p:sldLayoutIdLst>
    <p:sldLayoutId id="2147483649" r:id="rId1"/>
    <p:sldLayoutId id="2147483686" r:id="rId2"/>
    <p:sldLayoutId id="2147483693" r:id="rId3"/>
    <p:sldLayoutId id="2147483676" r:id="rId4"/>
    <p:sldLayoutId id="2147483651" r:id="rId5"/>
    <p:sldLayoutId id="2147483687" r:id="rId6"/>
    <p:sldLayoutId id="2147483690" r:id="rId7"/>
    <p:sldLayoutId id="2147483650" r:id="rId8"/>
    <p:sldLayoutId id="2147483683" r:id="rId9"/>
    <p:sldLayoutId id="2147483698" r:id="rId10"/>
    <p:sldLayoutId id="2147483661" r:id="rId11"/>
    <p:sldLayoutId id="2147483664" r:id="rId12"/>
    <p:sldLayoutId id="2147483662" r:id="rId13"/>
    <p:sldLayoutId id="2147483663" r:id="rId14"/>
    <p:sldLayoutId id="2147483665" r:id="rId15"/>
    <p:sldLayoutId id="2147483688" r:id="rId16"/>
    <p:sldLayoutId id="2147483691" r:id="rId17"/>
    <p:sldLayoutId id="2147483689" r:id="rId18"/>
    <p:sldLayoutId id="2147483692" r:id="rId19"/>
    <p:sldLayoutId id="2147483666" r:id="rId20"/>
    <p:sldLayoutId id="2147483684" r:id="rId21"/>
    <p:sldLayoutId id="2147483685" r:id="rId22"/>
    <p:sldLayoutId id="2147483667" r:id="rId23"/>
    <p:sldLayoutId id="2147483669" r:id="rId24"/>
    <p:sldLayoutId id="2147483670" r:id="rId25"/>
    <p:sldLayoutId id="2147483671" r:id="rId26"/>
    <p:sldLayoutId id="2147483697" r:id="rId27"/>
  </p:sldLayoutIdLst>
  <p:hf hdr="0" dt="0"/>
  <p:txStyles>
    <p:title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91" userDrawn="1">
          <p15:clr>
            <a:srgbClr val="F26B43"/>
          </p15:clr>
        </p15:guide>
        <p15:guide id="5" orient="horz" pos="4156" userDrawn="1">
          <p15:clr>
            <a:srgbClr val="F26B43"/>
          </p15:clr>
        </p15:guide>
        <p15:guide id="6" orient="horz" pos="3974" userDrawn="1">
          <p15:clr>
            <a:srgbClr val="F26B43"/>
          </p15:clr>
        </p15:guide>
        <p15:guide id="7" orient="horz" pos="3838" userDrawn="1">
          <p15:clr>
            <a:srgbClr val="F26B43"/>
          </p15:clr>
        </p15:guide>
        <p15:guide id="8" orient="horz" pos="1117" userDrawn="1">
          <p15:clr>
            <a:srgbClr val="F26B43"/>
          </p15:clr>
        </p15:guide>
        <p15:guide id="9" pos="7469" userDrawn="1">
          <p15:clr>
            <a:srgbClr val="F26B43"/>
          </p15:clr>
        </p15:guide>
        <p15:guide id="10" pos="393" userDrawn="1">
          <p15:clr>
            <a:srgbClr val="F26B43"/>
          </p15:clr>
        </p15:guide>
        <p15:guide id="11" orient="horz" pos="858" userDrawn="1">
          <p15:clr>
            <a:srgbClr val="F26B43"/>
          </p15:clr>
        </p15:guide>
        <p15:guide id="12" orient="horz" pos="18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0.xml"/><Relationship Id="rId7" Type="http://schemas.openxmlformats.org/officeDocument/2006/relationships/image" Target="../media/image24.png"/><Relationship Id="rId12" Type="http://schemas.openxmlformats.org/officeDocument/2006/relationships/image" Target="../media/image29.jpeg"/><Relationship Id="rId2" Type="http://schemas.openxmlformats.org/officeDocument/2006/relationships/slideLayout" Target="../slideLayouts/slideLayout9.xml"/><Relationship Id="rId1" Type="http://schemas.openxmlformats.org/officeDocument/2006/relationships/tags" Target="../tags/tag39.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1.emf"/><Relationship Id="rId10" Type="http://schemas.openxmlformats.org/officeDocument/2006/relationships/image" Target="../media/image27.jpeg"/><Relationship Id="rId4" Type="http://schemas.openxmlformats.org/officeDocument/2006/relationships/oleObject" Target="../embeddings/oleObject15.bin"/><Relationship Id="rId9" Type="http://schemas.openxmlformats.org/officeDocument/2006/relationships/image" Target="../media/image26.png"/></Relationships>
</file>

<file path=ppt/slides/_rels/slide11.xml.rels><?xml version="1.0" encoding="UTF-8" standalone="yes"?>
<Relationships xmlns="http://schemas.openxmlformats.org/package/2006/relationships"><Relationship Id="rId13" Type="http://schemas.openxmlformats.org/officeDocument/2006/relationships/image" Target="../media/image37.jpeg"/><Relationship Id="rId18" Type="http://schemas.openxmlformats.org/officeDocument/2006/relationships/image" Target="../media/image42.svg"/><Relationship Id="rId26" Type="http://schemas.openxmlformats.org/officeDocument/2006/relationships/image" Target="../media/image50.svg"/><Relationship Id="rId39" Type="http://schemas.openxmlformats.org/officeDocument/2006/relationships/image" Target="../media/image62.png"/><Relationship Id="rId21" Type="http://schemas.openxmlformats.org/officeDocument/2006/relationships/image" Target="../media/image45.svg"/><Relationship Id="rId34" Type="http://schemas.openxmlformats.org/officeDocument/2006/relationships/image" Target="../media/image58.png"/><Relationship Id="rId42" Type="http://schemas.openxmlformats.org/officeDocument/2006/relationships/image" Target="../media/image29.jpeg"/><Relationship Id="rId7" Type="http://schemas.openxmlformats.org/officeDocument/2006/relationships/image" Target="../media/image31.svg"/><Relationship Id="rId2" Type="http://schemas.openxmlformats.org/officeDocument/2006/relationships/slideLayout" Target="../slideLayouts/slideLayout9.xml"/><Relationship Id="rId16" Type="http://schemas.openxmlformats.org/officeDocument/2006/relationships/image" Target="../media/image40.svg"/><Relationship Id="rId20" Type="http://schemas.openxmlformats.org/officeDocument/2006/relationships/image" Target="../media/image44.svg"/><Relationship Id="rId29" Type="http://schemas.openxmlformats.org/officeDocument/2006/relationships/image" Target="../media/image53.jpeg"/><Relationship Id="rId41" Type="http://schemas.openxmlformats.org/officeDocument/2006/relationships/image" Target="../media/image64.jpeg"/><Relationship Id="rId1" Type="http://schemas.openxmlformats.org/officeDocument/2006/relationships/tags" Target="../tags/tag40.xml"/><Relationship Id="rId6" Type="http://schemas.openxmlformats.org/officeDocument/2006/relationships/image" Target="../media/image30.svg"/><Relationship Id="rId11" Type="http://schemas.openxmlformats.org/officeDocument/2006/relationships/image" Target="../media/image35.png"/><Relationship Id="rId24" Type="http://schemas.openxmlformats.org/officeDocument/2006/relationships/image" Target="../media/image48.svg"/><Relationship Id="rId32" Type="http://schemas.openxmlformats.org/officeDocument/2006/relationships/image" Target="../media/image56.png"/><Relationship Id="rId37" Type="http://schemas.openxmlformats.org/officeDocument/2006/relationships/image" Target="../media/image60.svg"/><Relationship Id="rId40" Type="http://schemas.openxmlformats.org/officeDocument/2006/relationships/image" Target="../media/image63.svg"/><Relationship Id="rId5" Type="http://schemas.openxmlformats.org/officeDocument/2006/relationships/image" Target="../media/image1.emf"/><Relationship Id="rId15" Type="http://schemas.openxmlformats.org/officeDocument/2006/relationships/image" Target="../media/image39.svg"/><Relationship Id="rId23" Type="http://schemas.openxmlformats.org/officeDocument/2006/relationships/image" Target="../media/image47.svg"/><Relationship Id="rId28" Type="http://schemas.openxmlformats.org/officeDocument/2006/relationships/image" Target="../media/image52.svg"/><Relationship Id="rId36" Type="http://schemas.openxmlformats.org/officeDocument/2006/relationships/image" Target="../media/image59.png"/><Relationship Id="rId10" Type="http://schemas.openxmlformats.org/officeDocument/2006/relationships/image" Target="../media/image34.svg"/><Relationship Id="rId19" Type="http://schemas.openxmlformats.org/officeDocument/2006/relationships/image" Target="../media/image43.svg"/><Relationship Id="rId31" Type="http://schemas.openxmlformats.org/officeDocument/2006/relationships/image" Target="../media/image55.svg"/><Relationship Id="rId4" Type="http://schemas.openxmlformats.org/officeDocument/2006/relationships/oleObject" Target="../embeddings/oleObject15.bin"/><Relationship Id="rId9" Type="http://schemas.openxmlformats.org/officeDocument/2006/relationships/image" Target="../media/image33.svg"/><Relationship Id="rId14" Type="http://schemas.openxmlformats.org/officeDocument/2006/relationships/image" Target="../media/image38.svg"/><Relationship Id="rId22" Type="http://schemas.openxmlformats.org/officeDocument/2006/relationships/image" Target="../media/image46.svg"/><Relationship Id="rId27" Type="http://schemas.openxmlformats.org/officeDocument/2006/relationships/image" Target="../media/image51.jpeg"/><Relationship Id="rId30" Type="http://schemas.openxmlformats.org/officeDocument/2006/relationships/image" Target="../media/image54.svg"/><Relationship Id="rId35" Type="http://schemas.openxmlformats.org/officeDocument/2006/relationships/image" Target="../media/image28.png"/><Relationship Id="rId43" Type="http://schemas.openxmlformats.org/officeDocument/2006/relationships/image" Target="../media/image65.png"/><Relationship Id="rId8" Type="http://schemas.openxmlformats.org/officeDocument/2006/relationships/image" Target="../media/image32.jpeg"/><Relationship Id="rId3" Type="http://schemas.openxmlformats.org/officeDocument/2006/relationships/notesSlide" Target="../notesSlides/notesSlide11.xml"/><Relationship Id="rId12" Type="http://schemas.openxmlformats.org/officeDocument/2006/relationships/image" Target="../media/image36.svg"/><Relationship Id="rId17" Type="http://schemas.openxmlformats.org/officeDocument/2006/relationships/image" Target="../media/image41.svg"/><Relationship Id="rId25" Type="http://schemas.openxmlformats.org/officeDocument/2006/relationships/image" Target="../media/image49.svg"/><Relationship Id="rId33" Type="http://schemas.openxmlformats.org/officeDocument/2006/relationships/image" Target="../media/image57.svg"/><Relationship Id="rId38" Type="http://schemas.openxmlformats.org/officeDocument/2006/relationships/image" Target="../media/image61.svg"/></Relationships>
</file>

<file path=ppt/slides/_rels/slide1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slideLayout" Target="../slideLayouts/slideLayout9.xml"/><Relationship Id="rId3" Type="http://schemas.openxmlformats.org/officeDocument/2006/relationships/tags" Target="../tags/tag43.xml"/><Relationship Id="rId21" Type="http://schemas.openxmlformats.org/officeDocument/2006/relationships/oleObject" Target="../embeddings/oleObject15.bin"/><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image" Target="../media/image69.emf"/><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image" Target="../media/image66.png"/><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68.emf"/><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image" Target="../media/image67.jpeg"/><Relationship Id="rId10" Type="http://schemas.openxmlformats.org/officeDocument/2006/relationships/tags" Target="../tags/tag50.xml"/><Relationship Id="rId19" Type="http://schemas.openxmlformats.org/officeDocument/2006/relationships/notesSlide" Target="../notesSlides/notesSlide12.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71.svg"/><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70.jpe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1.emf"/><Relationship Id="rId5" Type="http://schemas.openxmlformats.org/officeDocument/2006/relationships/tags" Target="../tags/tag62.xml"/><Relationship Id="rId10" Type="http://schemas.openxmlformats.org/officeDocument/2006/relationships/oleObject" Target="../embeddings/oleObject15.bin"/><Relationship Id="rId4" Type="http://schemas.openxmlformats.org/officeDocument/2006/relationships/tags" Target="../tags/tag61.xml"/><Relationship Id="rId9" Type="http://schemas.openxmlformats.org/officeDocument/2006/relationships/notesSlide" Target="../notesSlides/notesSlide13.xml"/><Relationship Id="rId14" Type="http://schemas.openxmlformats.org/officeDocument/2006/relationships/image" Target="../media/image72.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74.png"/><Relationship Id="rId2" Type="http://schemas.openxmlformats.org/officeDocument/2006/relationships/slideLayout" Target="../slideLayouts/slideLayout9.xml"/><Relationship Id="rId1" Type="http://schemas.openxmlformats.org/officeDocument/2006/relationships/tags" Target="../tags/tag65.xml"/><Relationship Id="rId6" Type="http://schemas.openxmlformats.org/officeDocument/2006/relationships/image" Target="../media/image7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5.xml"/><Relationship Id="rId13" Type="http://schemas.openxmlformats.org/officeDocument/2006/relationships/image" Target="../media/image76.png"/><Relationship Id="rId3" Type="http://schemas.openxmlformats.org/officeDocument/2006/relationships/tags" Target="../tags/tag68.xml"/><Relationship Id="rId7" Type="http://schemas.openxmlformats.org/officeDocument/2006/relationships/slideLayout" Target="../slideLayouts/slideLayout9.xml"/><Relationship Id="rId12" Type="http://schemas.microsoft.com/office/2007/relationships/hdphoto" Target="../media/hdphoto1.wdp"/><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75.png"/><Relationship Id="rId5" Type="http://schemas.openxmlformats.org/officeDocument/2006/relationships/tags" Target="../tags/tag70.xml"/><Relationship Id="rId10" Type="http://schemas.openxmlformats.org/officeDocument/2006/relationships/image" Target="../media/image1.emf"/><Relationship Id="rId4" Type="http://schemas.openxmlformats.org/officeDocument/2006/relationships/tags" Target="../tags/tag69.xml"/><Relationship Id="rId9" Type="http://schemas.openxmlformats.org/officeDocument/2006/relationships/oleObject" Target="../embeddings/oleObject15.bin"/><Relationship Id="rId14" Type="http://schemas.openxmlformats.org/officeDocument/2006/relationships/image" Target="../media/image29.jpeg"/></Relationships>
</file>

<file path=ppt/slides/_rels/slide16.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3" Type="http://schemas.openxmlformats.org/officeDocument/2006/relationships/notesSlide" Target="../notesSlides/notesSlide16.xml"/><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slideLayout" Target="../slideLayouts/slideLayout9.xml"/><Relationship Id="rId16" Type="http://schemas.openxmlformats.org/officeDocument/2006/relationships/image" Target="../media/image87.svg"/><Relationship Id="rId1" Type="http://schemas.openxmlformats.org/officeDocument/2006/relationships/tags" Target="../tags/tag72.xml"/><Relationship Id="rId6" Type="http://schemas.openxmlformats.org/officeDocument/2006/relationships/image" Target="../media/image77.jpeg"/><Relationship Id="rId11" Type="http://schemas.openxmlformats.org/officeDocument/2006/relationships/image" Target="../media/image82.jpeg"/><Relationship Id="rId5" Type="http://schemas.openxmlformats.org/officeDocument/2006/relationships/image" Target="../media/image1.emf"/><Relationship Id="rId15" Type="http://schemas.openxmlformats.org/officeDocument/2006/relationships/image" Target="../media/image86.svg"/><Relationship Id="rId10" Type="http://schemas.openxmlformats.org/officeDocument/2006/relationships/image" Target="../media/image81.jpeg"/><Relationship Id="rId4" Type="http://schemas.openxmlformats.org/officeDocument/2006/relationships/oleObject" Target="../embeddings/oleObject19.bin"/><Relationship Id="rId9" Type="http://schemas.openxmlformats.org/officeDocument/2006/relationships/image" Target="../media/image80.png"/><Relationship Id="rId14" Type="http://schemas.openxmlformats.org/officeDocument/2006/relationships/image" Target="../media/image85.jpeg"/></Relationships>
</file>

<file path=ppt/slides/_rels/slide17.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18" Type="http://schemas.openxmlformats.org/officeDocument/2006/relationships/tags" Target="../tags/tag90.xml"/><Relationship Id="rId26" Type="http://schemas.openxmlformats.org/officeDocument/2006/relationships/image" Target="../media/image89.jpeg"/><Relationship Id="rId3" Type="http://schemas.openxmlformats.org/officeDocument/2006/relationships/tags" Target="../tags/tag75.xml"/><Relationship Id="rId21" Type="http://schemas.openxmlformats.org/officeDocument/2006/relationships/slideLayout" Target="../slideLayouts/slideLayout9.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tags" Target="../tags/tag89.xml"/><Relationship Id="rId25" Type="http://schemas.openxmlformats.org/officeDocument/2006/relationships/image" Target="../media/image88.jpg"/><Relationship Id="rId2" Type="http://schemas.openxmlformats.org/officeDocument/2006/relationships/tags" Target="../tags/tag74.xml"/><Relationship Id="rId16" Type="http://schemas.openxmlformats.org/officeDocument/2006/relationships/tags" Target="../tags/tag88.xml"/><Relationship Id="rId20" Type="http://schemas.openxmlformats.org/officeDocument/2006/relationships/tags" Target="../tags/tag92.xml"/><Relationship Id="rId29" Type="http://schemas.openxmlformats.org/officeDocument/2006/relationships/image" Target="../media/image92.png"/><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24" Type="http://schemas.openxmlformats.org/officeDocument/2006/relationships/image" Target="../media/image1.emf"/><Relationship Id="rId5" Type="http://schemas.openxmlformats.org/officeDocument/2006/relationships/tags" Target="../tags/tag77.xml"/><Relationship Id="rId15" Type="http://schemas.openxmlformats.org/officeDocument/2006/relationships/tags" Target="../tags/tag87.xml"/><Relationship Id="rId23" Type="http://schemas.openxmlformats.org/officeDocument/2006/relationships/oleObject" Target="../embeddings/oleObject20.bin"/><Relationship Id="rId28" Type="http://schemas.openxmlformats.org/officeDocument/2006/relationships/image" Target="../media/image91.jpeg"/><Relationship Id="rId10" Type="http://schemas.openxmlformats.org/officeDocument/2006/relationships/tags" Target="../tags/tag82.xml"/><Relationship Id="rId19" Type="http://schemas.openxmlformats.org/officeDocument/2006/relationships/tags" Target="../tags/tag91.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 Id="rId22" Type="http://schemas.openxmlformats.org/officeDocument/2006/relationships/notesSlide" Target="../notesSlides/notesSlide17.xml"/><Relationship Id="rId27" Type="http://schemas.openxmlformats.org/officeDocument/2006/relationships/image" Target="../media/image90.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93.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93.jpeg"/></Relationships>
</file>

<file path=ppt/slides/_rels/slide19.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notesSlide" Target="../notesSlides/notesSlide19.xml"/><Relationship Id="rId7" Type="http://schemas.openxmlformats.org/officeDocument/2006/relationships/image" Target="../media/image95.png"/><Relationship Id="rId2" Type="http://schemas.openxmlformats.org/officeDocument/2006/relationships/slideLayout" Target="../slideLayouts/slideLayout9.xml"/><Relationship Id="rId1" Type="http://schemas.openxmlformats.org/officeDocument/2006/relationships/tags" Target="../tags/tag94.xml"/><Relationship Id="rId6" Type="http://schemas.openxmlformats.org/officeDocument/2006/relationships/image" Target="../media/image94.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9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1.jpg"/></Relationships>
</file>

<file path=ppt/slides/_rels/slide20.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tags" Target="../tags/tag95.xml"/><Relationship Id="rId6" Type="http://schemas.openxmlformats.org/officeDocument/2006/relationships/oleObject" Target="../embeddings/oleObject21.bin"/><Relationship Id="rId5" Type="http://schemas.openxmlformats.org/officeDocument/2006/relationships/image" Target="../media/image99.jpeg"/><Relationship Id="rId4" Type="http://schemas.openxmlformats.org/officeDocument/2006/relationships/image" Target="../media/image98.png"/><Relationship Id="rId9" Type="http://schemas.openxmlformats.org/officeDocument/2006/relationships/image" Target="../media/image15.svg"/></Relationships>
</file>

<file path=ppt/slides/_rels/slide21.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oleObject" Target="../embeddings/oleObject15.bin"/><Relationship Id="rId7" Type="http://schemas.openxmlformats.org/officeDocument/2006/relationships/image" Target="../media/image103.jpeg"/><Relationship Id="rId2" Type="http://schemas.openxmlformats.org/officeDocument/2006/relationships/slideLayout" Target="../slideLayouts/slideLayout9.xml"/><Relationship Id="rId1" Type="http://schemas.openxmlformats.org/officeDocument/2006/relationships/tags" Target="../tags/tag96.xml"/><Relationship Id="rId6" Type="http://schemas.openxmlformats.org/officeDocument/2006/relationships/image" Target="../media/image102.png"/><Relationship Id="rId5" Type="http://schemas.openxmlformats.org/officeDocument/2006/relationships/image" Target="../media/image101.sv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08.png"/><Relationship Id="rId3" Type="http://schemas.openxmlformats.org/officeDocument/2006/relationships/notesSlide" Target="../notesSlides/notesSlide21.xml"/><Relationship Id="rId7" Type="http://schemas.openxmlformats.org/officeDocument/2006/relationships/image" Target="../media/image105.png"/><Relationship Id="rId12" Type="http://schemas.openxmlformats.org/officeDocument/2006/relationships/image" Target="../media/image79.png"/><Relationship Id="rId2" Type="http://schemas.openxmlformats.org/officeDocument/2006/relationships/slideLayout" Target="../slideLayouts/slideLayout9.xml"/><Relationship Id="rId16" Type="http://schemas.openxmlformats.org/officeDocument/2006/relationships/image" Target="../media/image111.png"/><Relationship Id="rId1" Type="http://schemas.openxmlformats.org/officeDocument/2006/relationships/tags" Target="../tags/tag97.xml"/><Relationship Id="rId6" Type="http://schemas.openxmlformats.org/officeDocument/2006/relationships/image" Target="../media/image77.jpeg"/><Relationship Id="rId11" Type="http://schemas.openxmlformats.org/officeDocument/2006/relationships/image" Target="../media/image81.jpeg"/><Relationship Id="rId5" Type="http://schemas.openxmlformats.org/officeDocument/2006/relationships/image" Target="../media/image1.emf"/><Relationship Id="rId15" Type="http://schemas.openxmlformats.org/officeDocument/2006/relationships/image" Target="../media/image110.png"/><Relationship Id="rId10" Type="http://schemas.openxmlformats.org/officeDocument/2006/relationships/image" Target="../media/image78.png"/><Relationship Id="rId4" Type="http://schemas.openxmlformats.org/officeDocument/2006/relationships/oleObject" Target="../embeddings/oleObject22.bin"/><Relationship Id="rId9" Type="http://schemas.openxmlformats.org/officeDocument/2006/relationships/image" Target="../media/image107.jpeg"/><Relationship Id="rId14" Type="http://schemas.openxmlformats.org/officeDocument/2006/relationships/image" Target="../media/image10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12.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14.png"/><Relationship Id="rId2" Type="http://schemas.openxmlformats.org/officeDocument/2006/relationships/slideLayout" Target="../slideLayouts/slideLayout9.xml"/><Relationship Id="rId1" Type="http://schemas.openxmlformats.org/officeDocument/2006/relationships/tags" Target="../tags/tag99.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13.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16.jpeg"/><Relationship Id="rId2" Type="http://schemas.openxmlformats.org/officeDocument/2006/relationships/slideLayout" Target="../slideLayouts/slideLayout9.xml"/><Relationship Id="rId1" Type="http://schemas.openxmlformats.org/officeDocument/2006/relationships/tags" Target="../tags/tag100.xml"/><Relationship Id="rId6" Type="http://schemas.openxmlformats.org/officeDocument/2006/relationships/image" Target="../media/image115.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notesSlide" Target="../notesSlides/notesSlide25.xml"/><Relationship Id="rId7" Type="http://schemas.openxmlformats.org/officeDocument/2006/relationships/image" Target="../media/image118.png"/><Relationship Id="rId2" Type="http://schemas.openxmlformats.org/officeDocument/2006/relationships/slideLayout" Target="../slideLayouts/slideLayout8.xml"/><Relationship Id="rId1" Type="http://schemas.openxmlformats.org/officeDocument/2006/relationships/tags" Target="../tags/tag101.xml"/><Relationship Id="rId6" Type="http://schemas.openxmlformats.org/officeDocument/2006/relationships/image" Target="../media/image117.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7.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notesSlide" Target="../notesSlides/notesSlide26.xml"/><Relationship Id="rId7" Type="http://schemas.openxmlformats.org/officeDocument/2006/relationships/image" Target="../media/image121.png"/><Relationship Id="rId2" Type="http://schemas.openxmlformats.org/officeDocument/2006/relationships/slideLayout" Target="../slideLayouts/slideLayout8.xml"/><Relationship Id="rId1" Type="http://schemas.openxmlformats.org/officeDocument/2006/relationships/tags" Target="../tags/tag102.xml"/><Relationship Id="rId6" Type="http://schemas.openxmlformats.org/officeDocument/2006/relationships/image" Target="../media/image12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23.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2.jp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25.png"/><Relationship Id="rId2" Type="http://schemas.openxmlformats.org/officeDocument/2006/relationships/slideLayout" Target="../slideLayouts/slideLayout9.xml"/><Relationship Id="rId1" Type="http://schemas.openxmlformats.org/officeDocument/2006/relationships/tags" Target="../tags/tag105.xml"/><Relationship Id="rId6" Type="http://schemas.openxmlformats.org/officeDocument/2006/relationships/image" Target="../media/image124.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1.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notesSlide" Target="../notesSlides/notesSlide30.xml"/><Relationship Id="rId7" Type="http://schemas.openxmlformats.org/officeDocument/2006/relationships/image" Target="../media/image127.png"/><Relationship Id="rId2" Type="http://schemas.openxmlformats.org/officeDocument/2006/relationships/slideLayout" Target="../slideLayouts/slideLayout11.xml"/><Relationship Id="rId1" Type="http://schemas.openxmlformats.org/officeDocument/2006/relationships/tags" Target="../tags/tag106.xml"/><Relationship Id="rId6" Type="http://schemas.openxmlformats.org/officeDocument/2006/relationships/image" Target="../media/image126.jpeg"/><Relationship Id="rId5" Type="http://schemas.openxmlformats.org/officeDocument/2006/relationships/image" Target="../media/image1.emf"/><Relationship Id="rId10" Type="http://schemas.openxmlformats.org/officeDocument/2006/relationships/image" Target="../media/image104.svg"/><Relationship Id="rId4" Type="http://schemas.openxmlformats.org/officeDocument/2006/relationships/oleObject" Target="../embeddings/oleObject15.bin"/><Relationship Id="rId9" Type="http://schemas.openxmlformats.org/officeDocument/2006/relationships/image" Target="../media/image129.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9.xml"/><Relationship Id="rId1" Type="http://schemas.openxmlformats.org/officeDocument/2006/relationships/tags" Target="../tags/tag107.xml"/><Relationship Id="rId6" Type="http://schemas.openxmlformats.org/officeDocument/2006/relationships/image" Target="../media/image13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131.png"/><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image" Target="../media/image72.jpeg"/><Relationship Id="rId17" Type="http://schemas.openxmlformats.org/officeDocument/2006/relationships/image" Target="../media/image135.svg"/><Relationship Id="rId2" Type="http://schemas.openxmlformats.org/officeDocument/2006/relationships/tags" Target="../tags/tag109.xml"/><Relationship Id="rId16" Type="http://schemas.openxmlformats.org/officeDocument/2006/relationships/image" Target="../media/image134.svg"/><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slideLayout" Target="../slideLayouts/slideLayout9.xml"/><Relationship Id="rId5" Type="http://schemas.openxmlformats.org/officeDocument/2006/relationships/tags" Target="../tags/tag112.xml"/><Relationship Id="rId15" Type="http://schemas.openxmlformats.org/officeDocument/2006/relationships/image" Target="../media/image133.svg"/><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image" Target="../media/image132.svg"/></Relationships>
</file>

<file path=ppt/slides/_rels/slide34.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image" Target="../media/image132.svg"/><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image" Target="../media/image72.jpeg"/><Relationship Id="rId17" Type="http://schemas.openxmlformats.org/officeDocument/2006/relationships/image" Target="../media/image131.png"/><Relationship Id="rId2" Type="http://schemas.openxmlformats.org/officeDocument/2006/relationships/tags" Target="../tags/tag119.xml"/><Relationship Id="rId16" Type="http://schemas.openxmlformats.org/officeDocument/2006/relationships/image" Target="../media/image135.svg"/><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slideLayout" Target="../slideLayouts/slideLayout9.xml"/><Relationship Id="rId5" Type="http://schemas.openxmlformats.org/officeDocument/2006/relationships/tags" Target="../tags/tag122.xml"/><Relationship Id="rId15" Type="http://schemas.openxmlformats.org/officeDocument/2006/relationships/image" Target="../media/image134.svg"/><Relationship Id="rId10" Type="http://schemas.openxmlformats.org/officeDocument/2006/relationships/tags" Target="../tags/tag127.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image" Target="../media/image133.svg"/></Relationships>
</file>

<file path=ppt/slides/_rels/slide35.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image" Target="../media/image134.svg"/><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image" Target="../media/image133.sv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image" Target="../media/image132.svg"/><Relationship Id="rId5" Type="http://schemas.openxmlformats.org/officeDocument/2006/relationships/tags" Target="../tags/tag132.xml"/><Relationship Id="rId15" Type="http://schemas.openxmlformats.org/officeDocument/2006/relationships/image" Target="../media/image136.png"/><Relationship Id="rId10" Type="http://schemas.openxmlformats.org/officeDocument/2006/relationships/image" Target="../media/image72.jpeg"/><Relationship Id="rId4" Type="http://schemas.openxmlformats.org/officeDocument/2006/relationships/tags" Target="../tags/tag131.xml"/><Relationship Id="rId9" Type="http://schemas.openxmlformats.org/officeDocument/2006/relationships/slideLayout" Target="../slideLayouts/slideLayout8.xml"/><Relationship Id="rId14" Type="http://schemas.openxmlformats.org/officeDocument/2006/relationships/image" Target="../media/image135.svg"/></Relationships>
</file>

<file path=ppt/slides/_rels/slide36.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oleObject" Target="../embeddings/oleObject23.bin"/><Relationship Id="rId18" Type="http://schemas.openxmlformats.org/officeDocument/2006/relationships/image" Target="../media/image133.svg"/><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slideLayout" Target="../slideLayouts/slideLayout8.xml"/><Relationship Id="rId17" Type="http://schemas.openxmlformats.org/officeDocument/2006/relationships/image" Target="../media/image132.svg"/><Relationship Id="rId2" Type="http://schemas.openxmlformats.org/officeDocument/2006/relationships/tags" Target="../tags/tag137.xml"/><Relationship Id="rId16" Type="http://schemas.openxmlformats.org/officeDocument/2006/relationships/image" Target="../media/image138.png"/><Relationship Id="rId20" Type="http://schemas.openxmlformats.org/officeDocument/2006/relationships/image" Target="../media/image135.svg"/><Relationship Id="rId1" Type="http://schemas.openxmlformats.org/officeDocument/2006/relationships/tags" Target="../tags/tag136.xml"/><Relationship Id="rId6" Type="http://schemas.openxmlformats.org/officeDocument/2006/relationships/tags" Target="../tags/tag141.xml"/><Relationship Id="rId11" Type="http://schemas.openxmlformats.org/officeDocument/2006/relationships/tags" Target="../tags/tag146.xml"/><Relationship Id="rId5" Type="http://schemas.openxmlformats.org/officeDocument/2006/relationships/tags" Target="../tags/tag140.xml"/><Relationship Id="rId15" Type="http://schemas.openxmlformats.org/officeDocument/2006/relationships/image" Target="../media/image72.jpeg"/><Relationship Id="rId10" Type="http://schemas.openxmlformats.org/officeDocument/2006/relationships/tags" Target="../tags/tag145.xml"/><Relationship Id="rId19" Type="http://schemas.openxmlformats.org/officeDocument/2006/relationships/image" Target="../media/image134.svg"/><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image" Target="../media/image137.emf"/></Relationships>
</file>

<file path=ppt/slides/_rels/slide37.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image" Target="../media/image139.png"/><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image" Target="../media/image72.jpeg"/><Relationship Id="rId17" Type="http://schemas.openxmlformats.org/officeDocument/2006/relationships/image" Target="../media/image135.svg"/><Relationship Id="rId2" Type="http://schemas.openxmlformats.org/officeDocument/2006/relationships/tags" Target="../tags/tag148.xml"/><Relationship Id="rId16" Type="http://schemas.openxmlformats.org/officeDocument/2006/relationships/image" Target="../media/image134.svg"/><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notesSlide" Target="../notesSlides/notesSlide32.xml"/><Relationship Id="rId5" Type="http://schemas.openxmlformats.org/officeDocument/2006/relationships/tags" Target="../tags/tag151.xml"/><Relationship Id="rId15" Type="http://schemas.openxmlformats.org/officeDocument/2006/relationships/image" Target="../media/image133.svg"/><Relationship Id="rId10" Type="http://schemas.openxmlformats.org/officeDocument/2006/relationships/slideLayout" Target="../slideLayouts/slideLayout8.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image" Target="../media/image132.svg"/></Relationships>
</file>

<file path=ppt/slides/_rels/slide38.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image" Target="../media/image133.svg"/><Relationship Id="rId3" Type="http://schemas.openxmlformats.org/officeDocument/2006/relationships/tags" Target="../tags/tag158.xml"/><Relationship Id="rId7" Type="http://schemas.openxmlformats.org/officeDocument/2006/relationships/tags" Target="../tags/tag162.xml"/><Relationship Id="rId12" Type="http://schemas.openxmlformats.org/officeDocument/2006/relationships/image" Target="../media/image132.sv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image" Target="../media/image140.png"/><Relationship Id="rId5" Type="http://schemas.openxmlformats.org/officeDocument/2006/relationships/tags" Target="../tags/tag160.xml"/><Relationship Id="rId15" Type="http://schemas.openxmlformats.org/officeDocument/2006/relationships/image" Target="../media/image135.svg"/><Relationship Id="rId10" Type="http://schemas.openxmlformats.org/officeDocument/2006/relationships/image" Target="../media/image72.jpeg"/><Relationship Id="rId4" Type="http://schemas.openxmlformats.org/officeDocument/2006/relationships/tags" Target="../tags/tag159.xml"/><Relationship Id="rId9" Type="http://schemas.openxmlformats.org/officeDocument/2006/relationships/slideLayout" Target="../slideLayouts/slideLayout8.xml"/><Relationship Id="rId14" Type="http://schemas.openxmlformats.org/officeDocument/2006/relationships/image" Target="../media/image134.svg"/></Relationships>
</file>

<file path=ppt/slides/_rels/slide39.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134.svg"/><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image" Target="../media/image132.svg"/><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image" Target="../media/image140.png"/><Relationship Id="rId5" Type="http://schemas.openxmlformats.org/officeDocument/2006/relationships/tags" Target="../tags/tag168.xml"/><Relationship Id="rId15" Type="http://schemas.openxmlformats.org/officeDocument/2006/relationships/image" Target="../media/image133.svg"/><Relationship Id="rId10" Type="http://schemas.openxmlformats.org/officeDocument/2006/relationships/image" Target="../media/image72.jpeg"/><Relationship Id="rId4" Type="http://schemas.openxmlformats.org/officeDocument/2006/relationships/tags" Target="../tags/tag167.xml"/><Relationship Id="rId9" Type="http://schemas.openxmlformats.org/officeDocument/2006/relationships/slideLayout" Target="../slideLayouts/slideLayout8.xml"/><Relationship Id="rId14" Type="http://schemas.openxmlformats.org/officeDocument/2006/relationships/image" Target="../media/image135.svg"/></Relationships>
</file>

<file path=ppt/slides/_rels/slide4.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notesSlide" Target="../notesSlides/notesSlide4.xml"/><Relationship Id="rId7" Type="http://schemas.openxmlformats.org/officeDocument/2006/relationships/image" Target="../media/image14.png"/><Relationship Id="rId2" Type="http://schemas.openxmlformats.org/officeDocument/2006/relationships/slideLayout" Target="../slideLayouts/slideLayout9.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13.jpeg"/></Relationships>
</file>

<file path=ppt/slides/_rels/slide40.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image" Target="../media/image133.svg"/><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image" Target="../media/image140.png"/><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image" Target="../media/image132.svg"/><Relationship Id="rId5" Type="http://schemas.openxmlformats.org/officeDocument/2006/relationships/tags" Target="../tags/tag176.xml"/><Relationship Id="rId15" Type="http://schemas.openxmlformats.org/officeDocument/2006/relationships/image" Target="../media/image135.svg"/><Relationship Id="rId10" Type="http://schemas.openxmlformats.org/officeDocument/2006/relationships/image" Target="../media/image72.jpeg"/><Relationship Id="rId4" Type="http://schemas.openxmlformats.org/officeDocument/2006/relationships/tags" Target="../tags/tag175.xml"/><Relationship Id="rId9" Type="http://schemas.openxmlformats.org/officeDocument/2006/relationships/slideLayout" Target="../slideLayouts/slideLayout8.xml"/><Relationship Id="rId14" Type="http://schemas.openxmlformats.org/officeDocument/2006/relationships/image" Target="../media/image134.svg"/></Relationships>
</file>

<file path=ppt/slides/_rels/slide41.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image" Target="../media/image133.svg"/><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132.sv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image" Target="../media/image140.png"/><Relationship Id="rId5" Type="http://schemas.openxmlformats.org/officeDocument/2006/relationships/tags" Target="../tags/tag184.xml"/><Relationship Id="rId15" Type="http://schemas.openxmlformats.org/officeDocument/2006/relationships/image" Target="../media/image135.svg"/><Relationship Id="rId10" Type="http://schemas.openxmlformats.org/officeDocument/2006/relationships/image" Target="../media/image72.jpeg"/><Relationship Id="rId4" Type="http://schemas.openxmlformats.org/officeDocument/2006/relationships/tags" Target="../tags/tag183.xml"/><Relationship Id="rId9" Type="http://schemas.openxmlformats.org/officeDocument/2006/relationships/slideLayout" Target="../slideLayouts/slideLayout8.xml"/><Relationship Id="rId14" Type="http://schemas.openxmlformats.org/officeDocument/2006/relationships/image" Target="../media/image134.svg"/></Relationships>
</file>

<file path=ppt/slides/_rels/slide42.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image" Target="../media/image133.svg"/><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image" Target="../media/image132.svg"/><Relationship Id="rId2" Type="http://schemas.openxmlformats.org/officeDocument/2006/relationships/tags" Target="../tags/tag189.xml"/><Relationship Id="rId16" Type="http://schemas.openxmlformats.org/officeDocument/2006/relationships/image" Target="../media/image141.png"/><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image" Target="../media/image72.jpeg"/><Relationship Id="rId5" Type="http://schemas.openxmlformats.org/officeDocument/2006/relationships/tags" Target="../tags/tag192.xml"/><Relationship Id="rId15" Type="http://schemas.openxmlformats.org/officeDocument/2006/relationships/image" Target="../media/image135.svg"/><Relationship Id="rId10" Type="http://schemas.openxmlformats.org/officeDocument/2006/relationships/slideLayout" Target="../slideLayouts/slideLayout8.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image" Target="../media/image134.svg"/></Relationships>
</file>

<file path=ppt/slides/_rels/slide43.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image" Target="../media/image132.svg"/><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72.jpeg"/><Relationship Id="rId2" Type="http://schemas.openxmlformats.org/officeDocument/2006/relationships/tags" Target="../tags/tag198.xml"/><Relationship Id="rId16" Type="http://schemas.openxmlformats.org/officeDocument/2006/relationships/image" Target="../media/image135.svg"/><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slideLayout" Target="../slideLayouts/slideLayout9.xml"/><Relationship Id="rId5" Type="http://schemas.openxmlformats.org/officeDocument/2006/relationships/tags" Target="../tags/tag201.xml"/><Relationship Id="rId15" Type="http://schemas.openxmlformats.org/officeDocument/2006/relationships/image" Target="../media/image134.svg"/><Relationship Id="rId10" Type="http://schemas.openxmlformats.org/officeDocument/2006/relationships/tags" Target="../tags/tag206.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image" Target="../media/image133.svg"/></Relationships>
</file>

<file path=ppt/slides/_rels/slide44.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132.svg"/><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72.jpeg"/><Relationship Id="rId2" Type="http://schemas.openxmlformats.org/officeDocument/2006/relationships/tags" Target="../tags/tag208.xml"/><Relationship Id="rId16" Type="http://schemas.openxmlformats.org/officeDocument/2006/relationships/image" Target="../media/image135.svg"/><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slideLayout" Target="../slideLayouts/slideLayout9.xml"/><Relationship Id="rId5" Type="http://schemas.openxmlformats.org/officeDocument/2006/relationships/tags" Target="../tags/tag211.xml"/><Relationship Id="rId15" Type="http://schemas.openxmlformats.org/officeDocument/2006/relationships/image" Target="../media/image134.svg"/><Relationship Id="rId10" Type="http://schemas.openxmlformats.org/officeDocument/2006/relationships/tags" Target="../tags/tag216.xml"/><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image" Target="../media/image133.svg"/></Relationships>
</file>

<file path=ppt/slides/_rels/slide45.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image" Target="../media/image132.svg"/><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72.jpeg"/><Relationship Id="rId2" Type="http://schemas.openxmlformats.org/officeDocument/2006/relationships/tags" Target="../tags/tag218.xml"/><Relationship Id="rId16" Type="http://schemas.openxmlformats.org/officeDocument/2006/relationships/image" Target="../media/image135.svg"/><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slideLayout" Target="../slideLayouts/slideLayout9.xml"/><Relationship Id="rId5" Type="http://schemas.openxmlformats.org/officeDocument/2006/relationships/tags" Target="../tags/tag221.xml"/><Relationship Id="rId15" Type="http://schemas.openxmlformats.org/officeDocument/2006/relationships/image" Target="../media/image134.svg"/><Relationship Id="rId10" Type="http://schemas.openxmlformats.org/officeDocument/2006/relationships/tags" Target="../tags/tag226.xml"/><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image" Target="../media/image133.sv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227.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42.jpeg"/></Relationships>
</file>

<file path=ppt/slides/_rels/slide47.xml.rels><?xml version="1.0" encoding="UTF-8" standalone="yes"?>
<Relationships xmlns="http://schemas.openxmlformats.org/package/2006/relationships"><Relationship Id="rId8" Type="http://schemas.openxmlformats.org/officeDocument/2006/relationships/image" Target="../media/image145.svg"/><Relationship Id="rId3" Type="http://schemas.openxmlformats.org/officeDocument/2006/relationships/notesSlide" Target="../notesSlides/notesSlide34.xml"/><Relationship Id="rId7" Type="http://schemas.openxmlformats.org/officeDocument/2006/relationships/image" Target="../media/image144.svg"/><Relationship Id="rId2" Type="http://schemas.openxmlformats.org/officeDocument/2006/relationships/slideLayout" Target="../slideLayouts/slideLayout9.xml"/><Relationship Id="rId1" Type="http://schemas.openxmlformats.org/officeDocument/2006/relationships/tags" Target="../tags/tag228.xml"/><Relationship Id="rId6" Type="http://schemas.openxmlformats.org/officeDocument/2006/relationships/image" Target="../media/image143.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146.svg"/></Relationships>
</file>

<file path=ppt/slides/_rels/slide48.xml.rels><?xml version="1.0" encoding="UTF-8" standalone="yes"?>
<Relationships xmlns="http://schemas.openxmlformats.org/package/2006/relationships"><Relationship Id="rId8" Type="http://schemas.openxmlformats.org/officeDocument/2006/relationships/image" Target="../media/image148.emf"/><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tags" Target="../tags/tag229.xml"/><Relationship Id="rId6" Type="http://schemas.openxmlformats.org/officeDocument/2006/relationships/oleObject" Target="../embeddings/oleObject24.bin"/><Relationship Id="rId5" Type="http://schemas.microsoft.com/office/2007/relationships/hdphoto" Target="../media/hdphoto2.wdp"/><Relationship Id="rId4" Type="http://schemas.openxmlformats.org/officeDocument/2006/relationships/image" Target="../media/image147.png"/></Relationships>
</file>

<file path=ppt/slides/_rels/slide49.xml.rels><?xml version="1.0" encoding="UTF-8" standalone="yes"?>
<Relationships xmlns="http://schemas.openxmlformats.org/package/2006/relationships"><Relationship Id="rId3" Type="http://schemas.openxmlformats.org/officeDocument/2006/relationships/image" Target="../media/image149.jpg"/><Relationship Id="rId2" Type="http://schemas.openxmlformats.org/officeDocument/2006/relationships/image" Target="../media/image15.svg"/><Relationship Id="rId1" Type="http://schemas.openxmlformats.org/officeDocument/2006/relationships/slideLayout" Target="../slideLayouts/slideLayout9.xml"/><Relationship Id="rId4" Type="http://schemas.openxmlformats.org/officeDocument/2006/relationships/image" Target="../media/image150.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6.jpeg"/></Relationships>
</file>

<file path=ppt/slides/_rels/slide50.xml.rels><?xml version="1.0" encoding="UTF-8" standalone="yes"?>
<Relationships xmlns="http://schemas.openxmlformats.org/package/2006/relationships"><Relationship Id="rId8" Type="http://schemas.openxmlformats.org/officeDocument/2006/relationships/image" Target="../media/image152.svg"/><Relationship Id="rId3" Type="http://schemas.openxmlformats.org/officeDocument/2006/relationships/notesSlide" Target="../notesSlides/notesSlide36.xml"/><Relationship Id="rId7" Type="http://schemas.openxmlformats.org/officeDocument/2006/relationships/image" Target="../media/image151.svg"/><Relationship Id="rId2" Type="http://schemas.openxmlformats.org/officeDocument/2006/relationships/slideLayout" Target="../slideLayouts/slideLayout27.xml"/><Relationship Id="rId1" Type="http://schemas.openxmlformats.org/officeDocument/2006/relationships/tags" Target="../tags/tag230.x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image" Target="../media/image153.jpg"/><Relationship Id="rId4" Type="http://schemas.openxmlformats.org/officeDocument/2006/relationships/image" Target="../media/image13.jpeg"/><Relationship Id="rId9" Type="http://schemas.openxmlformats.org/officeDocument/2006/relationships/image" Target="../media/image15.svg"/></Relationships>
</file>

<file path=ppt/slides/_rels/slide51.xml.rels><?xml version="1.0" encoding="UTF-8" standalone="yes"?>
<Relationships xmlns="http://schemas.openxmlformats.org/package/2006/relationships"><Relationship Id="rId8" Type="http://schemas.openxmlformats.org/officeDocument/2006/relationships/image" Target="../media/image152.svg"/><Relationship Id="rId3" Type="http://schemas.openxmlformats.org/officeDocument/2006/relationships/notesSlide" Target="../notesSlides/notesSlide37.xml"/><Relationship Id="rId7" Type="http://schemas.openxmlformats.org/officeDocument/2006/relationships/image" Target="../media/image151.svg"/><Relationship Id="rId2" Type="http://schemas.openxmlformats.org/officeDocument/2006/relationships/slideLayout" Target="../slideLayouts/slideLayout27.xml"/><Relationship Id="rId1" Type="http://schemas.openxmlformats.org/officeDocument/2006/relationships/tags" Target="../tags/tag231.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3.jpeg"/><Relationship Id="rId9" Type="http://schemas.openxmlformats.org/officeDocument/2006/relationships/image" Target="../media/image15.sv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6.xml"/><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17.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6.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7.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8.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platzhalter 6">
            <a:extLst>
              <a:ext uri="{FF2B5EF4-FFF2-40B4-BE49-F238E27FC236}">
                <a16:creationId xmlns:a16="http://schemas.microsoft.com/office/drawing/2014/main" id="{2AE10CD7-4133-E3BB-409A-49BF44B98435}"/>
              </a:ext>
            </a:extLst>
          </p:cNvPr>
          <p:cNvSpPr>
            <a:spLocks noGrp="1"/>
          </p:cNvSpPr>
          <p:nvPr>
            <p:ph type="body" sz="quarter" idx="12"/>
          </p:nvPr>
        </p:nvSpPr>
        <p:spPr>
          <a:xfrm>
            <a:off x="623888" y="296863"/>
            <a:ext cx="9488833" cy="169277"/>
          </a:xfrm>
        </p:spPr>
        <p:txBody>
          <a:bodyPr/>
          <a:lstStyle/>
          <a:p>
            <a:r>
              <a:rPr lang="en-US"/>
              <a:t>Foreword to the presentation</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a:xfrm>
            <a:off x="623888" y="620713"/>
            <a:ext cx="10801350" cy="738187"/>
          </a:xfrm>
        </p:spPr>
        <p:txBody>
          <a:bodyPr vert="horz"/>
          <a:lstStyle/>
          <a:p>
            <a:r>
              <a:rPr lang="en-US"/>
              <a:t>The company presentation provides a comprehensive overview of our organization and the value we offer to our customers, job applicants, and interested parties</a:t>
            </a:r>
          </a:p>
        </p:txBody>
      </p:sp>
      <p:sp>
        <p:nvSpPr>
          <p:cNvPr id="4" name="Inhaltsplatzhalter 3">
            <a:extLst>
              <a:ext uri="{FF2B5EF4-FFF2-40B4-BE49-F238E27FC236}">
                <a16:creationId xmlns:a16="http://schemas.microsoft.com/office/drawing/2014/main" id="{D942F1FF-9EE8-1726-8417-AFEF2BA97F1D}"/>
              </a:ext>
            </a:extLst>
          </p:cNvPr>
          <p:cNvSpPr>
            <a:spLocks noGrp="1"/>
          </p:cNvSpPr>
          <p:nvPr>
            <p:ph idx="1"/>
          </p:nvPr>
        </p:nvSpPr>
        <p:spPr>
          <a:xfrm>
            <a:off x="623888" y="1773239"/>
            <a:ext cx="11233150" cy="4319586"/>
          </a:xfrm>
        </p:spPr>
        <p:txBody>
          <a:bodyPr/>
          <a:lstStyle/>
          <a:p>
            <a:r>
              <a:rPr lang="en-US"/>
              <a:t>The presentation is versatile and can be utilized in its entirety or as separate modules, depending on the context. Adapting the storyline to the audience's existing knowledge can greatly enhance the effectiveness of the presentation.</a:t>
            </a:r>
          </a:p>
          <a:p>
            <a:r>
              <a:rPr lang="en-US"/>
              <a:t>When making an initial contact or presenting at a trade fair, discussing the msg group in a general and broad manner can prove beneficial. Alternatively, you may opt to utilize a limited number of slides for a brief introduction in order to promptly delve into the main content of the presentation. </a:t>
            </a:r>
          </a:p>
          <a:p>
            <a:r>
              <a:rPr lang="en-US"/>
              <a:t>The company presentation contains numerous pre-drafted statements and commitments. In addition to their applicability in this presentation, they can also be directly used in discussions.</a:t>
            </a:r>
          </a:p>
          <a:p>
            <a:endParaRPr lang="de-DE"/>
          </a:p>
        </p:txBody>
      </p:sp>
      <p:sp>
        <p:nvSpPr>
          <p:cNvPr id="5" name="Fußzeilenplatzhalter 1">
            <a:extLst>
              <a:ext uri="{FF2B5EF4-FFF2-40B4-BE49-F238E27FC236}">
                <a16:creationId xmlns:a16="http://schemas.microsoft.com/office/drawing/2014/main" id="{0D49EFA1-8268-CD51-07AA-11E522EEE948}"/>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pPr/>
              <a:t>1</a:t>
            </a:fld>
            <a:endParaRPr lang="de-DE"/>
          </a:p>
        </p:txBody>
      </p:sp>
      <p:sp>
        <p:nvSpPr>
          <p:cNvPr id="7" name="Inhaltsplatzhalter 10">
            <a:extLst>
              <a:ext uri="{FF2B5EF4-FFF2-40B4-BE49-F238E27FC236}">
                <a16:creationId xmlns:a16="http://schemas.microsoft.com/office/drawing/2014/main" id="{9E0E338D-D38B-CC84-21A3-326D4F76EBDD}"/>
              </a:ext>
            </a:extLst>
          </p:cNvPr>
          <p:cNvSpPr>
            <a:spLocks noGrp="1"/>
          </p:cNvSpPr>
          <p:nvPr/>
        </p:nvSpPr>
        <p:spPr>
          <a:xfrm>
            <a:off x="1202644" y="1821158"/>
            <a:ext cx="9418824" cy="4461050"/>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1200"/>
              </a:spcAft>
            </a:pPr>
            <a:endParaRPr lang="de-DE">
              <a:latin typeface="Aptos Light" panose="020B0004020202020204" pitchFamily="34" charset="0"/>
            </a:endParaRPr>
          </a:p>
        </p:txBody>
      </p:sp>
      <p:sp>
        <p:nvSpPr>
          <p:cNvPr id="8" name="Ellipse 7">
            <a:extLst>
              <a:ext uri="{FF2B5EF4-FFF2-40B4-BE49-F238E27FC236}">
                <a16:creationId xmlns:a16="http://schemas.microsoft.com/office/drawing/2014/main" id="{3690864A-641A-4EA5-073D-FDA4E4A08790}"/>
              </a:ext>
            </a:extLst>
          </p:cNvPr>
          <p:cNvSpPr/>
          <p:nvPr/>
        </p:nvSpPr>
        <p:spPr>
          <a:xfrm rot="900000">
            <a:off x="10296526" y="4634660"/>
            <a:ext cx="1504950" cy="1504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108000" tIns="72000" rIns="108000" bIns="72000" numCol="1" spcCol="0" rtlCol="0" fromWordArt="0" anchor="ctr" anchorCtr="0" forceAA="0" compatLnSpc="1">
            <a:prstTxWarp prst="textNoShape">
              <a:avLst/>
            </a:prstTxWarp>
            <a:noAutofit/>
          </a:bodyPr>
          <a:lstStyle>
            <a:defPPr>
              <a:defRPr lang="de-DE"/>
            </a:defPPr>
            <a:lvl1pPr marL="0" indent="0" algn="l" defTabSz="914400" rtl="0" eaLnBrk="1" latinLnBrk="0" hangingPunct="1">
              <a:lnSpc>
                <a:spcPct val="110000"/>
              </a:lnSpc>
              <a:spcBef>
                <a:spcPts val="0"/>
              </a:spcBef>
              <a:buClr>
                <a:schemeClr val="accent1"/>
              </a:buClr>
              <a:buFontTx/>
              <a:buNone/>
              <a:defRPr sz="1800" kern="1200">
                <a:solidFill>
                  <a:schemeClr val="lt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lt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lt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lt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9pPr>
          </a:lstStyle>
          <a:p>
            <a:pPr algn="ctr"/>
            <a:r>
              <a:rPr lang="en-US">
                <a:solidFill>
                  <a:schemeClr val="bg1"/>
                </a:solidFill>
              </a:rPr>
              <a:t>Please </a:t>
            </a:r>
            <a:br>
              <a:rPr lang="en-US">
                <a:solidFill>
                  <a:schemeClr val="bg1"/>
                </a:solidFill>
              </a:rPr>
            </a:br>
            <a:r>
              <a:rPr lang="en-US">
                <a:solidFill>
                  <a:schemeClr val="bg1"/>
                </a:solidFill>
              </a:rPr>
              <a:t>delete </a:t>
            </a:r>
            <a:br>
              <a:rPr lang="en-US">
                <a:solidFill>
                  <a:schemeClr val="bg1"/>
                </a:solidFill>
              </a:rPr>
            </a:br>
            <a:r>
              <a:rPr lang="en-US">
                <a:solidFill>
                  <a:schemeClr val="bg1"/>
                </a:solidFill>
              </a:rPr>
              <a:t>this slide</a:t>
            </a:r>
            <a:br>
              <a:rPr lang="en-US">
                <a:solidFill>
                  <a:schemeClr val="bg1"/>
                </a:solidFill>
              </a:rPr>
            </a:br>
            <a:r>
              <a:rPr lang="en-US">
                <a:solidFill>
                  <a:schemeClr val="bg1"/>
                </a:solidFill>
              </a:rPr>
              <a:t>later</a:t>
            </a:r>
          </a:p>
        </p:txBody>
      </p:sp>
    </p:spTree>
    <p:extLst>
      <p:ext uri="{BB962C8B-B14F-4D97-AF65-F5344CB8AC3E}">
        <p14:creationId xmlns:p14="http://schemas.microsoft.com/office/powerpoint/2010/main" val="2105331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Gerade Verbindung mit Pfeil 17">
            <a:extLst>
              <a:ext uri="{FF2B5EF4-FFF2-40B4-BE49-F238E27FC236}">
                <a16:creationId xmlns:a16="http://schemas.microsoft.com/office/drawing/2014/main" id="{EE0FF54D-DEBE-17D0-66B7-C9F3AAEDFF1D}"/>
              </a:ext>
            </a:extLst>
          </p:cNvPr>
          <p:cNvCxnSpPr>
            <a:cxnSpLocks/>
          </p:cNvCxnSpPr>
          <p:nvPr/>
        </p:nvCxnSpPr>
        <p:spPr>
          <a:xfrm flipV="1">
            <a:off x="1208480" y="6005517"/>
            <a:ext cx="10648558" cy="22217"/>
          </a:xfrm>
          <a:prstGeom prst="straightConnector1">
            <a:avLst/>
          </a:prstGeom>
          <a:ln w="12700">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platzhalter 6">
            <a:extLst>
              <a:ext uri="{FF2B5EF4-FFF2-40B4-BE49-F238E27FC236}">
                <a16:creationId xmlns:a16="http://schemas.microsoft.com/office/drawing/2014/main" id="{2AE10CD7-4133-E3BB-409A-49BF44B98435}"/>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a:xfrm>
            <a:off x="623888" y="620713"/>
            <a:ext cx="9231312" cy="738664"/>
          </a:xfrm>
        </p:spPr>
        <p:txBody>
          <a:bodyPr vert="horz"/>
          <a:lstStyle/>
          <a:p>
            <a:r>
              <a:rPr lang="en-US" dirty="0"/>
              <a:t>From a start-up with three founders to a </a:t>
            </a:r>
            <a:r>
              <a:rPr lang="en-US" b="1" dirty="0"/>
              <a:t>billion-dollar company boasting a global workforce of over 10,000 IT and industry experts</a:t>
            </a:r>
          </a:p>
        </p:txBody>
      </p:sp>
      <p:sp>
        <p:nvSpPr>
          <p:cNvPr id="4" name="Fußzeilenplatzhalter 1">
            <a:extLst>
              <a:ext uri="{FF2B5EF4-FFF2-40B4-BE49-F238E27FC236}">
                <a16:creationId xmlns:a16="http://schemas.microsoft.com/office/drawing/2014/main" id="{4C1A543F-F22E-A4A3-C9A7-CB8B0891ED07}"/>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3" name="Slide Number Placeholder 2">
            <a:extLst>
              <a:ext uri="{FF2B5EF4-FFF2-40B4-BE49-F238E27FC236}">
                <a16:creationId xmlns:a16="http://schemas.microsoft.com/office/drawing/2014/main" id="{B5B8B0EF-BB15-B3A1-04ED-6C43C9CF3B18}"/>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pPr/>
              <a:t>10</a:t>
            </a:fld>
            <a:endParaRPr lang="en-US"/>
          </a:p>
        </p:txBody>
      </p:sp>
      <p:sp>
        <p:nvSpPr>
          <p:cNvPr id="14" name="Titel 14">
            <a:extLst>
              <a:ext uri="{FF2B5EF4-FFF2-40B4-BE49-F238E27FC236}">
                <a16:creationId xmlns:a16="http://schemas.microsoft.com/office/drawing/2014/main" id="{5D65486A-5675-FA1F-0EAE-97864A89ECF9}"/>
              </a:ext>
            </a:extLst>
          </p:cNvPr>
          <p:cNvSpPr txBox="1">
            <a:spLocks/>
          </p:cNvSpPr>
          <p:nvPr/>
        </p:nvSpPr>
        <p:spPr>
          <a:xfrm>
            <a:off x="658813" y="1773238"/>
            <a:ext cx="4637784" cy="692497"/>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a:lnSpc>
                <a:spcPct val="100000"/>
              </a:lnSpc>
              <a:buClrTx/>
            </a:pPr>
            <a:r>
              <a:rPr lang="en-US" sz="1500">
                <a:solidFill>
                  <a:schemeClr val="tx1"/>
                </a:solidFill>
                <a:latin typeface="+mn-lt"/>
                <a:cs typeface="Calibri Light"/>
              </a:rPr>
              <a:t>Three former IT interns </a:t>
            </a:r>
            <a:br>
              <a:rPr lang="en-US" sz="1500">
                <a:solidFill>
                  <a:schemeClr val="tx1"/>
                </a:solidFill>
                <a:latin typeface="+mn-lt"/>
                <a:cs typeface="Calibri Light"/>
              </a:rPr>
            </a:br>
            <a:r>
              <a:rPr lang="en-US" sz="1500">
                <a:solidFill>
                  <a:schemeClr val="tx1"/>
                </a:solidFill>
                <a:latin typeface="+mn-lt"/>
                <a:cs typeface="Calibri Light"/>
              </a:rPr>
              <a:t>found msg, ...</a:t>
            </a:r>
            <a:br>
              <a:rPr lang="en-US" sz="1500">
                <a:solidFill>
                  <a:schemeClr val="tx1"/>
                </a:solidFill>
                <a:latin typeface="+mn-lt"/>
                <a:cs typeface="Calibri Light"/>
              </a:rPr>
            </a:br>
            <a:endParaRPr lang="en-US" sz="1500">
              <a:solidFill>
                <a:schemeClr val="tx1"/>
              </a:solidFill>
              <a:latin typeface="+mn-lt"/>
              <a:cs typeface="Calibri Light"/>
            </a:endParaRPr>
          </a:p>
        </p:txBody>
      </p:sp>
      <p:sp>
        <p:nvSpPr>
          <p:cNvPr id="87" name="Titel 14">
            <a:extLst>
              <a:ext uri="{FF2B5EF4-FFF2-40B4-BE49-F238E27FC236}">
                <a16:creationId xmlns:a16="http://schemas.microsoft.com/office/drawing/2014/main" id="{420FCE64-65F4-3F01-34D1-F49C2FEB8CC7}"/>
              </a:ext>
            </a:extLst>
          </p:cNvPr>
          <p:cNvSpPr txBox="1">
            <a:spLocks/>
          </p:cNvSpPr>
          <p:nvPr/>
        </p:nvSpPr>
        <p:spPr>
          <a:xfrm>
            <a:off x="6427137" y="1787156"/>
            <a:ext cx="5288711" cy="692497"/>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algn="r">
              <a:lnSpc>
                <a:spcPct val="100000"/>
              </a:lnSpc>
              <a:buClrTx/>
            </a:pPr>
            <a:r>
              <a:rPr lang="en-US" sz="1500" dirty="0">
                <a:solidFill>
                  <a:schemeClr val="tx1"/>
                </a:solidFill>
                <a:latin typeface="+mn-lt"/>
                <a:cs typeface="Calibri Light" panose="020F0302020204030204" pitchFamily="34" charset="0"/>
              </a:rPr>
              <a:t>... </a:t>
            </a:r>
            <a:r>
              <a:rPr lang="de-DE" sz="1500" dirty="0" err="1">
                <a:solidFill>
                  <a:schemeClr val="tx1"/>
                </a:solidFill>
              </a:rPr>
              <a:t>the</a:t>
            </a:r>
            <a:r>
              <a:rPr lang="de-DE" sz="1500" dirty="0">
                <a:solidFill>
                  <a:schemeClr val="tx1"/>
                </a:solidFill>
              </a:rPr>
              <a:t> </a:t>
            </a:r>
            <a:r>
              <a:rPr lang="de-DE" sz="1500" dirty="0" err="1">
                <a:solidFill>
                  <a:schemeClr val="tx1"/>
                </a:solidFill>
              </a:rPr>
              <a:t>largest</a:t>
            </a:r>
            <a:r>
              <a:rPr lang="de-DE" sz="1500" dirty="0">
                <a:solidFill>
                  <a:schemeClr val="tx1"/>
                </a:solidFill>
              </a:rPr>
              <a:t> </a:t>
            </a:r>
            <a:r>
              <a:rPr lang="de-DE" sz="1500" dirty="0" err="1">
                <a:solidFill>
                  <a:schemeClr val="tx1"/>
                </a:solidFill>
              </a:rPr>
              <a:t>owner-managed</a:t>
            </a:r>
            <a:r>
              <a:rPr lang="de-DE" sz="1500" dirty="0">
                <a:solidFill>
                  <a:schemeClr val="tx1"/>
                </a:solidFill>
              </a:rPr>
              <a:t> </a:t>
            </a:r>
            <a:r>
              <a:rPr lang="de-DE" sz="1500" dirty="0" err="1">
                <a:solidFill>
                  <a:schemeClr val="tx1"/>
                </a:solidFill>
              </a:rPr>
              <a:t>consulting</a:t>
            </a:r>
            <a:r>
              <a:rPr lang="de-DE" sz="1500" dirty="0">
                <a:solidFill>
                  <a:schemeClr val="tx1"/>
                </a:solidFill>
              </a:rPr>
              <a:t> </a:t>
            </a:r>
            <a:br>
              <a:rPr lang="de-DE" sz="1500" dirty="0">
                <a:solidFill>
                  <a:schemeClr val="tx1"/>
                </a:solidFill>
              </a:rPr>
            </a:br>
            <a:r>
              <a:rPr lang="de-DE" sz="1500" dirty="0">
                <a:solidFill>
                  <a:schemeClr val="tx1"/>
                </a:solidFill>
              </a:rPr>
              <a:t>and IT </a:t>
            </a:r>
            <a:r>
              <a:rPr lang="de-DE" sz="1500" dirty="0" err="1">
                <a:solidFill>
                  <a:schemeClr val="tx1"/>
                </a:solidFill>
              </a:rPr>
              <a:t>company</a:t>
            </a:r>
            <a:r>
              <a:rPr lang="de-DE" sz="1500" dirty="0">
                <a:solidFill>
                  <a:schemeClr val="tx1"/>
                </a:solidFill>
              </a:rPr>
              <a:t> in Europe</a:t>
            </a:r>
            <a:br>
              <a:rPr lang="en-US" sz="1500" dirty="0">
                <a:solidFill>
                  <a:schemeClr val="tx1"/>
                </a:solidFill>
                <a:latin typeface="+mn-lt"/>
                <a:cs typeface="Calibri Light" panose="020F0302020204030204" pitchFamily="34" charset="0"/>
              </a:rPr>
            </a:br>
            <a:endParaRPr lang="en-US" sz="1500" dirty="0">
              <a:solidFill>
                <a:schemeClr val="tx1"/>
              </a:solidFill>
              <a:latin typeface="+mn-lt"/>
              <a:cs typeface="Calibri Light" panose="020F0302020204030204" pitchFamily="34" charset="0"/>
            </a:endParaRPr>
          </a:p>
        </p:txBody>
      </p:sp>
      <p:grpSp>
        <p:nvGrpSpPr>
          <p:cNvPr id="24" name="Gruppieren 23">
            <a:extLst>
              <a:ext uri="{FF2B5EF4-FFF2-40B4-BE49-F238E27FC236}">
                <a16:creationId xmlns:a16="http://schemas.microsoft.com/office/drawing/2014/main" id="{8B409A49-3B78-FC51-4493-E76DF51E2DCA}"/>
              </a:ext>
            </a:extLst>
          </p:cNvPr>
          <p:cNvGrpSpPr/>
          <p:nvPr/>
        </p:nvGrpSpPr>
        <p:grpSpPr>
          <a:xfrm>
            <a:off x="580812" y="2330687"/>
            <a:ext cx="11239400" cy="3266182"/>
            <a:chOff x="580812" y="2330687"/>
            <a:chExt cx="11239400" cy="3266182"/>
          </a:xfrm>
        </p:grpSpPr>
        <p:grpSp>
          <p:nvGrpSpPr>
            <p:cNvPr id="25" name="Gruppieren 24">
              <a:extLst>
                <a:ext uri="{FF2B5EF4-FFF2-40B4-BE49-F238E27FC236}">
                  <a16:creationId xmlns:a16="http://schemas.microsoft.com/office/drawing/2014/main" id="{569D4851-CA13-0465-FA48-A954A5FBD6F5}"/>
                </a:ext>
              </a:extLst>
            </p:cNvPr>
            <p:cNvGrpSpPr/>
            <p:nvPr/>
          </p:nvGrpSpPr>
          <p:grpSpPr>
            <a:xfrm>
              <a:off x="580812" y="2330687"/>
              <a:ext cx="11239400" cy="3266182"/>
              <a:chOff x="580812" y="2330687"/>
              <a:chExt cx="11239400" cy="3266182"/>
            </a:xfrm>
          </p:grpSpPr>
          <p:sp>
            <p:nvSpPr>
              <p:cNvPr id="27" name="Freihandform 3">
                <a:extLst>
                  <a:ext uri="{FF2B5EF4-FFF2-40B4-BE49-F238E27FC236}">
                    <a16:creationId xmlns:a16="http://schemas.microsoft.com/office/drawing/2014/main" id="{28899B81-621A-B569-9E04-7D6458009FE8}"/>
                  </a:ext>
                </a:extLst>
              </p:cNvPr>
              <p:cNvSpPr/>
              <p:nvPr/>
            </p:nvSpPr>
            <p:spPr>
              <a:xfrm>
                <a:off x="1314765" y="2344190"/>
                <a:ext cx="8849802" cy="3252679"/>
              </a:xfrm>
              <a:custGeom>
                <a:avLst/>
                <a:gdLst>
                  <a:gd name="connsiteX0" fmla="*/ 0 w 8849802"/>
                  <a:gd name="connsiteY0" fmla="*/ 906449 h 3307743"/>
                  <a:gd name="connsiteX1" fmla="*/ 8849802 w 8849802"/>
                  <a:gd name="connsiteY1" fmla="*/ 0 h 3307743"/>
                  <a:gd name="connsiteX2" fmla="*/ 8849802 w 8849802"/>
                  <a:gd name="connsiteY2" fmla="*/ 3307743 h 3307743"/>
                  <a:gd name="connsiteX3" fmla="*/ 15903 w 8849802"/>
                  <a:gd name="connsiteY3" fmla="*/ 2393343 h 3307743"/>
                  <a:gd name="connsiteX4" fmla="*/ 0 w 8849802"/>
                  <a:gd name="connsiteY4" fmla="*/ 906449 h 3307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9802" h="3307743">
                    <a:moveTo>
                      <a:pt x="0" y="906449"/>
                    </a:moveTo>
                    <a:lnTo>
                      <a:pt x="8849802" y="0"/>
                    </a:lnTo>
                    <a:lnTo>
                      <a:pt x="8849802" y="3307743"/>
                    </a:lnTo>
                    <a:lnTo>
                      <a:pt x="15903" y="2393343"/>
                    </a:lnTo>
                    <a:cubicBezTo>
                      <a:pt x="18553" y="1903013"/>
                      <a:pt x="21204" y="1412682"/>
                      <a:pt x="0" y="906449"/>
                    </a:cubicBezTo>
                    <a:close/>
                  </a:path>
                </a:pathLst>
              </a:custGeom>
              <a:solidFill>
                <a:schemeClr val="bg2">
                  <a:lumMod val="40000"/>
                  <a:lumOff val="6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pic>
            <p:nvPicPr>
              <p:cNvPr id="28" name="Grafik 27" descr="Ein Bild, das Text, Screenshot, Design, Schrift enthält.&#10;&#10;Automatisch generierte Beschreibung">
                <a:extLst>
                  <a:ext uri="{FF2B5EF4-FFF2-40B4-BE49-F238E27FC236}">
                    <a16:creationId xmlns:a16="http://schemas.microsoft.com/office/drawing/2014/main" id="{5E127729-D54C-1989-438C-F3518531ED06}"/>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3648246" y="3787919"/>
                <a:ext cx="786648" cy="430571"/>
              </a:xfrm>
              <a:prstGeom prst="rect">
                <a:avLst/>
              </a:prstGeom>
            </p:spPr>
          </p:pic>
          <p:pic>
            <p:nvPicPr>
              <p:cNvPr id="29" name="Grafik 28">
                <a:extLst>
                  <a:ext uri="{FF2B5EF4-FFF2-40B4-BE49-F238E27FC236}">
                    <a16:creationId xmlns:a16="http://schemas.microsoft.com/office/drawing/2014/main" id="{A5DD5367-D9ED-01D8-A33E-C15D56588008}"/>
                  </a:ext>
                </a:extLst>
              </p:cNvPr>
              <p:cNvPicPr>
                <a:picLocks noChangeAspect="1"/>
              </p:cNvPicPr>
              <p:nvPr/>
            </p:nvPicPr>
            <p:blipFill>
              <a:blip r:embed="rId7"/>
              <a:srcRect/>
              <a:stretch/>
            </p:blipFill>
            <p:spPr>
              <a:xfrm>
                <a:off x="4780643" y="3875650"/>
                <a:ext cx="836989" cy="279183"/>
              </a:xfrm>
              <a:prstGeom prst="rect">
                <a:avLst/>
              </a:prstGeom>
            </p:spPr>
          </p:pic>
          <p:pic>
            <p:nvPicPr>
              <p:cNvPr id="30" name="Grafik 29" descr="Ein Bild, das Text, Screenshot, Design, Schrift enthält.&#10;&#10;Automatisch generierte Beschreibung">
                <a:extLst>
                  <a:ext uri="{FF2B5EF4-FFF2-40B4-BE49-F238E27FC236}">
                    <a16:creationId xmlns:a16="http://schemas.microsoft.com/office/drawing/2014/main" id="{F179AC0B-F034-094E-CC35-C9A060B25C79}"/>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6105663" y="3710101"/>
                <a:ext cx="954995" cy="540099"/>
              </a:xfrm>
              <a:prstGeom prst="rect">
                <a:avLst/>
              </a:prstGeom>
              <a:noFill/>
            </p:spPr>
          </p:pic>
          <p:pic>
            <p:nvPicPr>
              <p:cNvPr id="31" name="Grafik 30" descr="Ein Bild, das Text, Screenshot, Design, Schrift enthält.&#10;&#10;Automatisch generierte Beschreibung">
                <a:extLst>
                  <a:ext uri="{FF2B5EF4-FFF2-40B4-BE49-F238E27FC236}">
                    <a16:creationId xmlns:a16="http://schemas.microsoft.com/office/drawing/2014/main" id="{3BCBB167-7AE2-2898-51AD-156851E9C064}"/>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7397117" y="3703283"/>
                <a:ext cx="954995" cy="540099"/>
              </a:xfrm>
              <a:prstGeom prst="rect">
                <a:avLst/>
              </a:prstGeom>
            </p:spPr>
          </p:pic>
          <p:sp>
            <p:nvSpPr>
              <p:cNvPr id="32" name="Ellipse 31">
                <a:extLst>
                  <a:ext uri="{FF2B5EF4-FFF2-40B4-BE49-F238E27FC236}">
                    <a16:creationId xmlns:a16="http://schemas.microsoft.com/office/drawing/2014/main" id="{23317374-FEA0-3692-A451-47DC221B6216}"/>
                  </a:ext>
                </a:extLst>
              </p:cNvPr>
              <p:cNvSpPr/>
              <p:nvPr/>
            </p:nvSpPr>
            <p:spPr>
              <a:xfrm flipH="1">
                <a:off x="580812" y="3227191"/>
                <a:ext cx="1526044" cy="1526044"/>
              </a:xfrm>
              <a:prstGeom prst="ellipse">
                <a:avLst/>
              </a:prstGeom>
              <a:blipFill dpi="0" rotWithShape="1">
                <a:blip r:embed="rId10" cstate="hqprint">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3" name="Textfeld 32">
                <a:extLst>
                  <a:ext uri="{FF2B5EF4-FFF2-40B4-BE49-F238E27FC236}">
                    <a16:creationId xmlns:a16="http://schemas.microsoft.com/office/drawing/2014/main" id="{DDCFF8BC-8959-7354-2C61-FFDDE632CFA9}"/>
                  </a:ext>
                </a:extLst>
              </p:cNvPr>
              <p:cNvSpPr txBox="1"/>
              <p:nvPr/>
            </p:nvSpPr>
            <p:spPr>
              <a:xfrm>
                <a:off x="598233" y="3609836"/>
                <a:ext cx="1491202" cy="738664"/>
              </a:xfrm>
              <a:prstGeom prst="rect">
                <a:avLst/>
              </a:prstGeom>
            </p:spPr>
            <p:txBody>
              <a:bodyPr vert="horz" wrap="square" lIns="0" tIns="0" rIns="0" bIns="0" rtlCol="0" anchor="t" anchorCtr="0">
                <a:spAutoFit/>
              </a:bodyPr>
              <a:lstStyle/>
              <a:p>
                <a:pPr algn="ctr">
                  <a:lnSpc>
                    <a:spcPct val="100000"/>
                  </a:lnSpc>
                </a:pPr>
                <a:r>
                  <a:rPr lang="en-US" sz="1600">
                    <a:solidFill>
                      <a:schemeClr val="bg1"/>
                    </a:solidFill>
                    <a:latin typeface="Aptos Light" panose="020B0004020202020204" pitchFamily="34" charset="0"/>
                  </a:rPr>
                  <a:t>3 founders</a:t>
                </a:r>
              </a:p>
              <a:p>
                <a:pPr algn="ctr">
                  <a:lnSpc>
                    <a:spcPct val="100000"/>
                  </a:lnSpc>
                </a:pPr>
                <a:r>
                  <a:rPr lang="en-US" sz="1600">
                    <a:solidFill>
                      <a:schemeClr val="bg1"/>
                    </a:solidFill>
                    <a:latin typeface="Aptos Light" panose="020B0004020202020204" pitchFamily="34" charset="0"/>
                  </a:rPr>
                  <a:t>1 customer</a:t>
                </a:r>
              </a:p>
              <a:p>
                <a:pPr algn="ctr">
                  <a:lnSpc>
                    <a:spcPct val="100000"/>
                  </a:lnSpc>
                </a:pPr>
                <a:r>
                  <a:rPr lang="en-US" sz="1600">
                    <a:solidFill>
                      <a:schemeClr val="bg1"/>
                    </a:solidFill>
                    <a:latin typeface="Aptos Light" panose="020B0004020202020204" pitchFamily="34" charset="0"/>
                  </a:rPr>
                  <a:t>1 country</a:t>
                </a:r>
              </a:p>
            </p:txBody>
          </p:sp>
          <p:sp>
            <p:nvSpPr>
              <p:cNvPr id="34" name="Ellipse 33">
                <a:extLst>
                  <a:ext uri="{FF2B5EF4-FFF2-40B4-BE49-F238E27FC236}">
                    <a16:creationId xmlns:a16="http://schemas.microsoft.com/office/drawing/2014/main" id="{08568C44-76D8-2E27-2FA8-8438C3BD7A43}"/>
                  </a:ext>
                </a:extLst>
              </p:cNvPr>
              <p:cNvSpPr/>
              <p:nvPr/>
            </p:nvSpPr>
            <p:spPr>
              <a:xfrm flipH="1">
                <a:off x="8567533" y="2330687"/>
                <a:ext cx="3252679" cy="3252679"/>
              </a:xfrm>
              <a:prstGeom prst="ellipse">
                <a:avLst/>
              </a:prstGeom>
              <a:blipFill dpi="0" rotWithShape="1">
                <a:blip r:embed="rId10" cstate="hqprint">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5" name="Textfeld 34">
                <a:extLst>
                  <a:ext uri="{FF2B5EF4-FFF2-40B4-BE49-F238E27FC236}">
                    <a16:creationId xmlns:a16="http://schemas.microsoft.com/office/drawing/2014/main" id="{BB4B2F21-C370-D56F-72C7-8C4488474B00}"/>
                  </a:ext>
                </a:extLst>
              </p:cNvPr>
              <p:cNvSpPr txBox="1"/>
              <p:nvPr/>
            </p:nvSpPr>
            <p:spPr>
              <a:xfrm>
                <a:off x="8731427" y="3390049"/>
                <a:ext cx="2940015" cy="1200329"/>
              </a:xfrm>
              <a:prstGeom prst="rect">
                <a:avLst/>
              </a:prstGeom>
            </p:spPr>
            <p:txBody>
              <a:bodyPr vert="horz" wrap="square" lIns="0" tIns="0" rIns="0" bIns="0" rtlCol="0" anchor="t" anchorCtr="0">
                <a:spAutoFit/>
              </a:bodyPr>
              <a:lstStyle/>
              <a:p>
                <a:pPr algn="ctr">
                  <a:lnSpc>
                    <a:spcPct val="100000"/>
                  </a:lnSpc>
                </a:pPr>
                <a:r>
                  <a:rPr lang="en-US" sz="2600" dirty="0">
                    <a:solidFill>
                      <a:schemeClr val="bg1"/>
                    </a:solidFill>
                    <a:latin typeface="Aptos Light" panose="020B0004020202020204" pitchFamily="34" charset="0"/>
                  </a:rPr>
                  <a:t>&gt; 10,000 experts</a:t>
                </a:r>
              </a:p>
              <a:p>
                <a:pPr algn="ctr">
                  <a:lnSpc>
                    <a:spcPct val="100000"/>
                  </a:lnSpc>
                </a:pPr>
                <a:r>
                  <a:rPr lang="en-US" sz="2600" dirty="0">
                    <a:solidFill>
                      <a:schemeClr val="bg1"/>
                    </a:solidFill>
                    <a:latin typeface="Aptos Light" panose="020B0004020202020204" pitchFamily="34" charset="0"/>
                  </a:rPr>
                  <a:t>  &gt; 3,000 customers</a:t>
                </a:r>
              </a:p>
              <a:p>
                <a:pPr algn="ctr">
                  <a:lnSpc>
                    <a:spcPct val="100000"/>
                  </a:lnSpc>
                </a:pPr>
                <a:r>
                  <a:rPr lang="en-US" sz="2600" dirty="0">
                    <a:solidFill>
                      <a:schemeClr val="bg1"/>
                    </a:solidFill>
                    <a:latin typeface="Aptos Light" panose="020B0004020202020204" pitchFamily="34" charset="0"/>
                  </a:rPr>
                  <a:t>34 countries</a:t>
                </a:r>
                <a:endParaRPr lang="de-DE" sz="2600" dirty="0">
                  <a:solidFill>
                    <a:schemeClr val="bg1"/>
                  </a:solidFill>
                  <a:latin typeface="Aptos Light" panose="020B0004020202020204" pitchFamily="34" charset="0"/>
                  <a:ea typeface="Calibri"/>
                  <a:cs typeface="Calibri"/>
                </a:endParaRPr>
              </a:p>
            </p:txBody>
          </p:sp>
        </p:grpSp>
        <p:pic>
          <p:nvPicPr>
            <p:cNvPr id="26" name="Grafik 25" descr="Ein Bild, das Screenshot, Schrift, Schwarz, Grafiken enthält.&#10;&#10;Automatisch generierte Beschreibung">
              <a:extLst>
                <a:ext uri="{FF2B5EF4-FFF2-40B4-BE49-F238E27FC236}">
                  <a16:creationId xmlns:a16="http://schemas.microsoft.com/office/drawing/2014/main" id="{BD97FEF7-9A12-AF7C-38B0-BFD428BE15C6}"/>
                </a:ext>
              </a:extLst>
            </p:cNvPr>
            <p:cNvPicPr>
              <a:picLocks noChangeAspect="1"/>
            </p:cNvPicPr>
            <p:nvPr/>
          </p:nvPicPr>
          <p:blipFill>
            <a:blip r:embed="rId11"/>
            <a:stretch>
              <a:fillRect/>
            </a:stretch>
          </p:blipFill>
          <p:spPr>
            <a:xfrm>
              <a:off x="2318921" y="3871418"/>
              <a:ext cx="938629" cy="276797"/>
            </a:xfrm>
            <a:prstGeom prst="rect">
              <a:avLst/>
            </a:prstGeom>
          </p:spPr>
        </p:pic>
      </p:grpSp>
      <p:sp>
        <p:nvSpPr>
          <p:cNvPr id="7" name="Textfeld 6">
            <a:extLst>
              <a:ext uri="{FF2B5EF4-FFF2-40B4-BE49-F238E27FC236}">
                <a16:creationId xmlns:a16="http://schemas.microsoft.com/office/drawing/2014/main" id="{BB2F9F48-9033-0313-AAFF-9B16574D5E79}"/>
              </a:ext>
            </a:extLst>
          </p:cNvPr>
          <p:cNvSpPr txBox="1"/>
          <p:nvPr/>
        </p:nvSpPr>
        <p:spPr>
          <a:xfrm>
            <a:off x="864916"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80</a:t>
            </a:r>
          </a:p>
        </p:txBody>
      </p:sp>
      <p:sp>
        <p:nvSpPr>
          <p:cNvPr id="8" name="Textfeld 7">
            <a:extLst>
              <a:ext uri="{FF2B5EF4-FFF2-40B4-BE49-F238E27FC236}">
                <a16:creationId xmlns:a16="http://schemas.microsoft.com/office/drawing/2014/main" id="{9B3F9C87-0912-8FBD-EAB2-98E0D9147264}"/>
              </a:ext>
            </a:extLst>
          </p:cNvPr>
          <p:cNvSpPr txBox="1"/>
          <p:nvPr/>
        </p:nvSpPr>
        <p:spPr>
          <a:xfrm>
            <a:off x="2714477"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90</a:t>
            </a:r>
          </a:p>
        </p:txBody>
      </p:sp>
      <p:sp>
        <p:nvSpPr>
          <p:cNvPr id="11" name="Textfeld 10">
            <a:extLst>
              <a:ext uri="{FF2B5EF4-FFF2-40B4-BE49-F238E27FC236}">
                <a16:creationId xmlns:a16="http://schemas.microsoft.com/office/drawing/2014/main" id="{9657B541-3474-2B79-4F82-B7467CF0AE44}"/>
              </a:ext>
            </a:extLst>
          </p:cNvPr>
          <p:cNvSpPr txBox="1"/>
          <p:nvPr/>
        </p:nvSpPr>
        <p:spPr>
          <a:xfrm>
            <a:off x="4564038"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95</a:t>
            </a:r>
          </a:p>
        </p:txBody>
      </p:sp>
      <p:sp>
        <p:nvSpPr>
          <p:cNvPr id="12" name="Textfeld 11">
            <a:extLst>
              <a:ext uri="{FF2B5EF4-FFF2-40B4-BE49-F238E27FC236}">
                <a16:creationId xmlns:a16="http://schemas.microsoft.com/office/drawing/2014/main" id="{8AC6FFE7-2409-0DE4-EBA7-EC8FCF3A8262}"/>
              </a:ext>
            </a:extLst>
          </p:cNvPr>
          <p:cNvSpPr txBox="1"/>
          <p:nvPr/>
        </p:nvSpPr>
        <p:spPr>
          <a:xfrm>
            <a:off x="6413599"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01</a:t>
            </a:r>
          </a:p>
        </p:txBody>
      </p:sp>
      <p:sp>
        <p:nvSpPr>
          <p:cNvPr id="13" name="Textfeld 12">
            <a:extLst>
              <a:ext uri="{FF2B5EF4-FFF2-40B4-BE49-F238E27FC236}">
                <a16:creationId xmlns:a16="http://schemas.microsoft.com/office/drawing/2014/main" id="{44DA4B6F-8855-43F8-4226-3492266AAF30}"/>
              </a:ext>
            </a:extLst>
          </p:cNvPr>
          <p:cNvSpPr txBox="1"/>
          <p:nvPr/>
        </p:nvSpPr>
        <p:spPr>
          <a:xfrm>
            <a:off x="8263160"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14</a:t>
            </a:r>
          </a:p>
        </p:txBody>
      </p:sp>
      <p:sp>
        <p:nvSpPr>
          <p:cNvPr id="16" name="Textfeld 15">
            <a:extLst>
              <a:ext uri="{FF2B5EF4-FFF2-40B4-BE49-F238E27FC236}">
                <a16:creationId xmlns:a16="http://schemas.microsoft.com/office/drawing/2014/main" id="{1775320E-C008-DC9E-EA30-65319B13D8CA}"/>
              </a:ext>
            </a:extLst>
          </p:cNvPr>
          <p:cNvSpPr txBox="1"/>
          <p:nvPr/>
        </p:nvSpPr>
        <p:spPr>
          <a:xfrm>
            <a:off x="10112721" y="5885507"/>
            <a:ext cx="828000" cy="274418"/>
          </a:xfrm>
          <a:prstGeom prst="rect">
            <a:avLst/>
          </a:prstGeom>
          <a:solidFill>
            <a:schemeClr val="bg1"/>
          </a:solidFill>
        </p:spPr>
        <p:txBody>
          <a:bodyPr wrap="none" lIns="0" tIns="0" rIns="0" bIns="0" rtlCol="0" anchor="ctr" anchorCtr="0">
            <a:noAutofit/>
          </a:bodyPr>
          <a:lstStyle/>
          <a:p>
            <a:pPr algn="ctr"/>
            <a:r>
              <a:rPr lang="de-DE" sz="2500" dirty="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26</a:t>
            </a:r>
          </a:p>
        </p:txBody>
      </p:sp>
    </p:spTree>
    <p:extLst>
      <p:ext uri="{BB962C8B-B14F-4D97-AF65-F5344CB8AC3E}">
        <p14:creationId xmlns:p14="http://schemas.microsoft.com/office/powerpoint/2010/main" val="32547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6">
            <a:extLst>
              <a:ext uri="{FF2B5EF4-FFF2-40B4-BE49-F238E27FC236}">
                <a16:creationId xmlns:a16="http://schemas.microsoft.com/office/drawing/2014/main" id="{3179DBB6-F47D-2B0F-FACE-06E9C36EC2D3}"/>
              </a:ext>
            </a:extLst>
          </p:cNvPr>
          <p:cNvSpPr>
            <a:spLocks noGrp="1"/>
          </p:cNvSpPr>
          <p:nvPr>
            <p:ph type="body" sz="quarter" idx="12"/>
          </p:nvPr>
        </p:nvSpPr>
        <p:spPr>
          <a:xfrm>
            <a:off x="623888" y="296863"/>
            <a:ext cx="9488833" cy="169277"/>
          </a:xfrm>
        </p:spPr>
        <p:txBody>
          <a:bodyPr vert="horz" wrap="square" lIns="0" tIns="0" rIns="0" bIns="0" rtlCol="0" anchor="t">
            <a:spAutoFit/>
          </a:bodyPr>
          <a:lstStyle/>
          <a:p>
            <a:r>
              <a:rPr lang="en-US"/>
              <a:t>The msg group at a glance</a:t>
            </a:r>
          </a:p>
        </p:txBody>
      </p:sp>
      <p:sp>
        <p:nvSpPr>
          <p:cNvPr id="6" name="Titel 5">
            <a:extLst>
              <a:ext uri="{FF2B5EF4-FFF2-40B4-BE49-F238E27FC236}">
                <a16:creationId xmlns:a16="http://schemas.microsoft.com/office/drawing/2014/main" id="{D818165A-4BB8-8657-7A9A-84DFE45F3C68}"/>
              </a:ext>
            </a:extLst>
          </p:cNvPr>
          <p:cNvSpPr>
            <a:spLocks noGrp="1"/>
          </p:cNvSpPr>
          <p:nvPr>
            <p:ph type="title"/>
          </p:nvPr>
        </p:nvSpPr>
        <p:spPr>
          <a:xfrm>
            <a:off x="623888" y="620713"/>
            <a:ext cx="9488833" cy="738664"/>
          </a:xfrm>
        </p:spPr>
        <p:txBody>
          <a:bodyPr/>
          <a:lstStyle/>
          <a:p>
            <a:r>
              <a:rPr lang="en-US" b="1" dirty="0"/>
              <a:t>The comprehensive strategy </a:t>
            </a:r>
            <a:r>
              <a:rPr lang="en-US" dirty="0"/>
              <a:t>employed by the msg group has been instrumental to its success for more than four decades</a:t>
            </a:r>
          </a:p>
        </p:txBody>
      </p:sp>
      <p:sp>
        <p:nvSpPr>
          <p:cNvPr id="2" name="Fußzeilenplatzhalter 1">
            <a:extLst>
              <a:ext uri="{FF2B5EF4-FFF2-40B4-BE49-F238E27FC236}">
                <a16:creationId xmlns:a16="http://schemas.microsoft.com/office/drawing/2014/main" id="{292A202B-6678-D734-C15E-F444434ABEDE}"/>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1</a:t>
            </a:fld>
            <a:endParaRPr lang="de-DE"/>
          </a:p>
        </p:txBody>
      </p:sp>
      <p:cxnSp>
        <p:nvCxnSpPr>
          <p:cNvPr id="3" name="Gerade Verbindung 19">
            <a:extLst>
              <a:ext uri="{FF2B5EF4-FFF2-40B4-BE49-F238E27FC236}">
                <a16:creationId xmlns:a16="http://schemas.microsoft.com/office/drawing/2014/main" id="{43511641-1B89-70EE-CF81-27013F0B6244}"/>
              </a:ext>
            </a:extLst>
          </p:cNvPr>
          <p:cNvCxnSpPr>
            <a:cxnSpLocks/>
          </p:cNvCxnSpPr>
          <p:nvPr/>
        </p:nvCxnSpPr>
        <p:spPr>
          <a:xfrm>
            <a:off x="9961640" y="3860469"/>
            <a:ext cx="0" cy="103279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Gerade Verbindung 136">
            <a:extLst>
              <a:ext uri="{FF2B5EF4-FFF2-40B4-BE49-F238E27FC236}">
                <a16:creationId xmlns:a16="http://schemas.microsoft.com/office/drawing/2014/main" id="{3E676DE9-FF37-6199-43DF-AFE89C09F343}"/>
              </a:ext>
            </a:extLst>
          </p:cNvPr>
          <p:cNvCxnSpPr>
            <a:cxnSpLocks/>
            <a:stCxn id="11" idx="0"/>
          </p:cNvCxnSpPr>
          <p:nvPr/>
        </p:nvCxnSpPr>
        <p:spPr>
          <a:xfrm>
            <a:off x="1873625" y="3531402"/>
            <a:ext cx="0" cy="329067"/>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Gerade Verbindung 137">
            <a:extLst>
              <a:ext uri="{FF2B5EF4-FFF2-40B4-BE49-F238E27FC236}">
                <a16:creationId xmlns:a16="http://schemas.microsoft.com/office/drawing/2014/main" id="{95DA6FC1-F878-A5DA-89F6-435526ABB9A0}"/>
              </a:ext>
            </a:extLst>
          </p:cNvPr>
          <p:cNvCxnSpPr>
            <a:cxnSpLocks/>
          </p:cNvCxnSpPr>
          <p:nvPr/>
        </p:nvCxnSpPr>
        <p:spPr>
          <a:xfrm>
            <a:off x="633834" y="3855928"/>
            <a:ext cx="0" cy="50927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Oval 140">
            <a:extLst>
              <a:ext uri="{FF2B5EF4-FFF2-40B4-BE49-F238E27FC236}">
                <a16:creationId xmlns:a16="http://schemas.microsoft.com/office/drawing/2014/main" id="{6C0DECC6-E379-6BA7-2C34-4684C2A0B561}"/>
              </a:ext>
            </a:extLst>
          </p:cNvPr>
          <p:cNvSpPr/>
          <p:nvPr/>
        </p:nvSpPr>
        <p:spPr>
          <a:xfrm>
            <a:off x="614598" y="4365206"/>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1" name="Oval 142">
            <a:extLst>
              <a:ext uri="{FF2B5EF4-FFF2-40B4-BE49-F238E27FC236}">
                <a16:creationId xmlns:a16="http://schemas.microsoft.com/office/drawing/2014/main" id="{1133A5BB-5042-3212-6999-B89CE003CCE7}"/>
              </a:ext>
            </a:extLst>
          </p:cNvPr>
          <p:cNvSpPr/>
          <p:nvPr/>
        </p:nvSpPr>
        <p:spPr>
          <a:xfrm>
            <a:off x="1853755" y="353140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14" name="Gerade Verbindung 145">
            <a:extLst>
              <a:ext uri="{FF2B5EF4-FFF2-40B4-BE49-F238E27FC236}">
                <a16:creationId xmlns:a16="http://schemas.microsoft.com/office/drawing/2014/main" id="{D9AE4C0F-469A-E743-0B3C-2B74F405DB14}"/>
              </a:ext>
            </a:extLst>
          </p:cNvPr>
          <p:cNvCxnSpPr>
            <a:cxnSpLocks/>
          </p:cNvCxnSpPr>
          <p:nvPr/>
        </p:nvCxnSpPr>
        <p:spPr>
          <a:xfrm>
            <a:off x="2788437" y="2875481"/>
            <a:ext cx="0" cy="98498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Gerade Verbindung 166">
            <a:extLst>
              <a:ext uri="{FF2B5EF4-FFF2-40B4-BE49-F238E27FC236}">
                <a16:creationId xmlns:a16="http://schemas.microsoft.com/office/drawing/2014/main" id="{C0CFFCC7-5ACF-95E0-7E71-20E94CDAB930}"/>
              </a:ext>
            </a:extLst>
          </p:cNvPr>
          <p:cNvCxnSpPr>
            <a:cxnSpLocks/>
            <a:endCxn id="20" idx="4"/>
          </p:cNvCxnSpPr>
          <p:nvPr/>
        </p:nvCxnSpPr>
        <p:spPr>
          <a:xfrm>
            <a:off x="3659535" y="3863248"/>
            <a:ext cx="3452" cy="144892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Oval 170">
            <a:extLst>
              <a:ext uri="{FF2B5EF4-FFF2-40B4-BE49-F238E27FC236}">
                <a16:creationId xmlns:a16="http://schemas.microsoft.com/office/drawing/2014/main" id="{D5AF23BD-8184-04E9-9869-0B2629963FDC}"/>
              </a:ext>
            </a:extLst>
          </p:cNvPr>
          <p:cNvSpPr/>
          <p:nvPr/>
        </p:nvSpPr>
        <p:spPr>
          <a:xfrm>
            <a:off x="3641214" y="482173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 name="Oval 175">
            <a:extLst>
              <a:ext uri="{FF2B5EF4-FFF2-40B4-BE49-F238E27FC236}">
                <a16:creationId xmlns:a16="http://schemas.microsoft.com/office/drawing/2014/main" id="{0B837F4E-CAF4-4F39-3C75-2E65CF34902D}"/>
              </a:ext>
            </a:extLst>
          </p:cNvPr>
          <p:cNvSpPr/>
          <p:nvPr/>
        </p:nvSpPr>
        <p:spPr>
          <a:xfrm>
            <a:off x="3639665" y="5266453"/>
            <a:ext cx="46643" cy="45719"/>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 name="Oval 176">
            <a:extLst>
              <a:ext uri="{FF2B5EF4-FFF2-40B4-BE49-F238E27FC236}">
                <a16:creationId xmlns:a16="http://schemas.microsoft.com/office/drawing/2014/main" id="{D5F0A975-3664-F5CA-B149-D1C1D462F5F6}"/>
              </a:ext>
            </a:extLst>
          </p:cNvPr>
          <p:cNvSpPr/>
          <p:nvPr/>
        </p:nvSpPr>
        <p:spPr>
          <a:xfrm>
            <a:off x="3641214" y="460724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4" name="Oval 177">
            <a:extLst>
              <a:ext uri="{FF2B5EF4-FFF2-40B4-BE49-F238E27FC236}">
                <a16:creationId xmlns:a16="http://schemas.microsoft.com/office/drawing/2014/main" id="{C9F44D8B-02CA-15F1-C387-61FA9D710B41}"/>
              </a:ext>
            </a:extLst>
          </p:cNvPr>
          <p:cNvSpPr/>
          <p:nvPr/>
        </p:nvSpPr>
        <p:spPr>
          <a:xfrm>
            <a:off x="3641214" y="5053645"/>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27" name="Gerade Verbindung 178">
            <a:extLst>
              <a:ext uri="{FF2B5EF4-FFF2-40B4-BE49-F238E27FC236}">
                <a16:creationId xmlns:a16="http://schemas.microsoft.com/office/drawing/2014/main" id="{BFCF82AB-EB78-6542-E5DD-34B3C7FBB12B}"/>
              </a:ext>
            </a:extLst>
          </p:cNvPr>
          <p:cNvCxnSpPr>
            <a:cxnSpLocks/>
          </p:cNvCxnSpPr>
          <p:nvPr/>
        </p:nvCxnSpPr>
        <p:spPr>
          <a:xfrm>
            <a:off x="8239974" y="3853595"/>
            <a:ext cx="0" cy="17185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179">
            <a:extLst>
              <a:ext uri="{FF2B5EF4-FFF2-40B4-BE49-F238E27FC236}">
                <a16:creationId xmlns:a16="http://schemas.microsoft.com/office/drawing/2014/main" id="{E890A891-4BB8-EE3C-89A7-781339415008}"/>
              </a:ext>
            </a:extLst>
          </p:cNvPr>
          <p:cNvSpPr/>
          <p:nvPr/>
        </p:nvSpPr>
        <p:spPr>
          <a:xfrm>
            <a:off x="8221910" y="4204468"/>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33" name="Gerade Verbindung 182">
            <a:extLst>
              <a:ext uri="{FF2B5EF4-FFF2-40B4-BE49-F238E27FC236}">
                <a16:creationId xmlns:a16="http://schemas.microsoft.com/office/drawing/2014/main" id="{2567D15B-6478-F419-3326-C4823593DEB0}"/>
              </a:ext>
            </a:extLst>
          </p:cNvPr>
          <p:cNvCxnSpPr>
            <a:cxnSpLocks/>
            <a:stCxn id="216" idx="4"/>
          </p:cNvCxnSpPr>
          <p:nvPr/>
        </p:nvCxnSpPr>
        <p:spPr>
          <a:xfrm>
            <a:off x="9122336" y="2227546"/>
            <a:ext cx="651" cy="1630077"/>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C9C10D72-1526-1E56-AAAB-BE93289B4A66}"/>
              </a:ext>
            </a:extLst>
          </p:cNvPr>
          <p:cNvCxnSpPr>
            <a:cxnSpLocks/>
          </p:cNvCxnSpPr>
          <p:nvPr/>
        </p:nvCxnSpPr>
        <p:spPr>
          <a:xfrm>
            <a:off x="633834" y="3858198"/>
            <a:ext cx="11223204" cy="0"/>
          </a:xfrm>
          <a:prstGeom prst="straightConnector1">
            <a:avLst/>
          </a:prstGeom>
          <a:ln w="12700">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7" name="Oval 190">
            <a:extLst>
              <a:ext uri="{FF2B5EF4-FFF2-40B4-BE49-F238E27FC236}">
                <a16:creationId xmlns:a16="http://schemas.microsoft.com/office/drawing/2014/main" id="{E9DDA24B-3B4F-B7CD-43B3-EF353DA8441B}"/>
              </a:ext>
            </a:extLst>
          </p:cNvPr>
          <p:cNvSpPr/>
          <p:nvPr/>
        </p:nvSpPr>
        <p:spPr>
          <a:xfrm>
            <a:off x="8221910" y="44229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39" name="Gerade Verbindung 199">
            <a:extLst>
              <a:ext uri="{FF2B5EF4-FFF2-40B4-BE49-F238E27FC236}">
                <a16:creationId xmlns:a16="http://schemas.microsoft.com/office/drawing/2014/main" id="{21193A46-E29D-27F0-AADF-2AE1C3CB7F64}"/>
              </a:ext>
            </a:extLst>
          </p:cNvPr>
          <p:cNvCxnSpPr>
            <a:cxnSpLocks/>
          </p:cNvCxnSpPr>
          <p:nvPr/>
        </p:nvCxnSpPr>
        <p:spPr>
          <a:xfrm>
            <a:off x="6074336" y="3860469"/>
            <a:ext cx="0" cy="171172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Oval 201">
            <a:extLst>
              <a:ext uri="{FF2B5EF4-FFF2-40B4-BE49-F238E27FC236}">
                <a16:creationId xmlns:a16="http://schemas.microsoft.com/office/drawing/2014/main" id="{EF74D0AD-2E30-CD19-E84D-3B1F3D167ABD}"/>
              </a:ext>
            </a:extLst>
          </p:cNvPr>
          <p:cNvSpPr/>
          <p:nvPr/>
        </p:nvSpPr>
        <p:spPr>
          <a:xfrm>
            <a:off x="6054466" y="420093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43" name="Gerade Verbindung 206">
            <a:extLst>
              <a:ext uri="{FF2B5EF4-FFF2-40B4-BE49-F238E27FC236}">
                <a16:creationId xmlns:a16="http://schemas.microsoft.com/office/drawing/2014/main" id="{DC4B3A2B-6491-9203-F4B4-31A7731731C1}"/>
              </a:ext>
            </a:extLst>
          </p:cNvPr>
          <p:cNvCxnSpPr>
            <a:cxnSpLocks/>
            <a:stCxn id="173" idx="0"/>
          </p:cNvCxnSpPr>
          <p:nvPr/>
        </p:nvCxnSpPr>
        <p:spPr>
          <a:xfrm>
            <a:off x="4770578" y="2836529"/>
            <a:ext cx="310" cy="1026719"/>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Oval 208">
            <a:extLst>
              <a:ext uri="{FF2B5EF4-FFF2-40B4-BE49-F238E27FC236}">
                <a16:creationId xmlns:a16="http://schemas.microsoft.com/office/drawing/2014/main" id="{67284DC3-6BF1-DCD5-18C0-D5452E3570B8}"/>
              </a:ext>
            </a:extLst>
          </p:cNvPr>
          <p:cNvSpPr/>
          <p:nvPr/>
        </p:nvSpPr>
        <p:spPr>
          <a:xfrm>
            <a:off x="4750708" y="328250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47" name="Oval 209">
            <a:extLst>
              <a:ext uri="{FF2B5EF4-FFF2-40B4-BE49-F238E27FC236}">
                <a16:creationId xmlns:a16="http://schemas.microsoft.com/office/drawing/2014/main" id="{63ECF013-C318-434C-05CD-A35108D603D7}"/>
              </a:ext>
            </a:extLst>
          </p:cNvPr>
          <p:cNvSpPr/>
          <p:nvPr/>
        </p:nvSpPr>
        <p:spPr>
          <a:xfrm>
            <a:off x="4750708" y="306186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49" name="Gerade Verbindung 214">
            <a:extLst>
              <a:ext uri="{FF2B5EF4-FFF2-40B4-BE49-F238E27FC236}">
                <a16:creationId xmlns:a16="http://schemas.microsoft.com/office/drawing/2014/main" id="{95065B65-DD0E-4F6F-A820-E08B5EEFEE00}"/>
              </a:ext>
            </a:extLst>
          </p:cNvPr>
          <p:cNvCxnSpPr>
            <a:cxnSpLocks/>
            <a:stCxn id="193" idx="0"/>
          </p:cNvCxnSpPr>
          <p:nvPr/>
        </p:nvCxnSpPr>
        <p:spPr>
          <a:xfrm>
            <a:off x="6915405" y="3057644"/>
            <a:ext cx="0" cy="795951"/>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Oval 216">
            <a:extLst>
              <a:ext uri="{FF2B5EF4-FFF2-40B4-BE49-F238E27FC236}">
                <a16:creationId xmlns:a16="http://schemas.microsoft.com/office/drawing/2014/main" id="{47A83DA0-57F9-47D9-4D92-B9067A940DF2}"/>
              </a:ext>
            </a:extLst>
          </p:cNvPr>
          <p:cNvSpPr/>
          <p:nvPr/>
        </p:nvSpPr>
        <p:spPr>
          <a:xfrm>
            <a:off x="6895535" y="350803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54" name="Oval 217">
            <a:extLst>
              <a:ext uri="{FF2B5EF4-FFF2-40B4-BE49-F238E27FC236}">
                <a16:creationId xmlns:a16="http://schemas.microsoft.com/office/drawing/2014/main" id="{AC01974E-D45B-E6D5-2CE2-E22A106337B3}"/>
              </a:ext>
            </a:extLst>
          </p:cNvPr>
          <p:cNvSpPr/>
          <p:nvPr/>
        </p:nvSpPr>
        <p:spPr>
          <a:xfrm>
            <a:off x="6895535" y="327989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56" name="Oval 225">
            <a:extLst>
              <a:ext uri="{FF2B5EF4-FFF2-40B4-BE49-F238E27FC236}">
                <a16:creationId xmlns:a16="http://schemas.microsoft.com/office/drawing/2014/main" id="{E4919B95-0EF9-B91B-5CAC-07C4B1A06175}"/>
              </a:ext>
            </a:extLst>
          </p:cNvPr>
          <p:cNvSpPr/>
          <p:nvPr/>
        </p:nvSpPr>
        <p:spPr>
          <a:xfrm>
            <a:off x="6054466" y="44134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58" name="Oval 226">
            <a:extLst>
              <a:ext uri="{FF2B5EF4-FFF2-40B4-BE49-F238E27FC236}">
                <a16:creationId xmlns:a16="http://schemas.microsoft.com/office/drawing/2014/main" id="{767F03AD-AB35-B373-10C7-E7315CEBC775}"/>
              </a:ext>
            </a:extLst>
          </p:cNvPr>
          <p:cNvSpPr/>
          <p:nvPr/>
        </p:nvSpPr>
        <p:spPr>
          <a:xfrm>
            <a:off x="6054466" y="485802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60" name="Oval 227">
            <a:extLst>
              <a:ext uri="{FF2B5EF4-FFF2-40B4-BE49-F238E27FC236}">
                <a16:creationId xmlns:a16="http://schemas.microsoft.com/office/drawing/2014/main" id="{86C4F8B7-B802-9E9A-1475-E8F04CF26D44}"/>
              </a:ext>
            </a:extLst>
          </p:cNvPr>
          <p:cNvSpPr/>
          <p:nvPr/>
        </p:nvSpPr>
        <p:spPr>
          <a:xfrm>
            <a:off x="6054466" y="507936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62" name="Oval 229">
            <a:extLst>
              <a:ext uri="{FF2B5EF4-FFF2-40B4-BE49-F238E27FC236}">
                <a16:creationId xmlns:a16="http://schemas.microsoft.com/office/drawing/2014/main" id="{2C9FEB03-CEF4-BCA5-D9AC-5579DCE2E984}"/>
              </a:ext>
            </a:extLst>
          </p:cNvPr>
          <p:cNvSpPr/>
          <p:nvPr/>
        </p:nvSpPr>
        <p:spPr>
          <a:xfrm>
            <a:off x="6054466" y="46315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63" name="Grafik 62">
            <a:extLst>
              <a:ext uri="{FF2B5EF4-FFF2-40B4-BE49-F238E27FC236}">
                <a16:creationId xmlns:a16="http://schemas.microsoft.com/office/drawing/2014/main" id="{C2533398-60DF-5DA9-B0E4-CE6C7C0B98D9}"/>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2877394" y="2960335"/>
            <a:ext cx="829818" cy="236194"/>
          </a:xfrm>
          <a:prstGeom prst="rect">
            <a:avLst/>
          </a:prstGeom>
        </p:spPr>
      </p:pic>
      <p:pic>
        <p:nvPicPr>
          <p:cNvPr id="128" name="Grafik 127">
            <a:extLst>
              <a:ext uri="{FF2B5EF4-FFF2-40B4-BE49-F238E27FC236}">
                <a16:creationId xmlns:a16="http://schemas.microsoft.com/office/drawing/2014/main" id="{DAB3C49B-0EDA-4A3C-F1AC-6638133578F3}"/>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4865338" y="2747477"/>
            <a:ext cx="764980" cy="196709"/>
          </a:xfrm>
          <a:prstGeom prst="rect">
            <a:avLst/>
          </a:prstGeom>
        </p:spPr>
      </p:pic>
      <p:pic>
        <p:nvPicPr>
          <p:cNvPr id="130" name="Grafik 129">
            <a:extLst>
              <a:ext uri="{FF2B5EF4-FFF2-40B4-BE49-F238E27FC236}">
                <a16:creationId xmlns:a16="http://schemas.microsoft.com/office/drawing/2014/main" id="{E7181676-28A5-FE0F-3017-886352536078}"/>
              </a:ext>
            </a:extLst>
          </p:cNvPr>
          <p:cNvPicPr>
            <a:picLocks noChangeAspect="1"/>
          </p:cNvPicPr>
          <p:nvPr/>
        </p:nvPicPr>
        <p:blipFill rotWithShape="1">
          <a:blip r:embed="rId8"/>
          <a:srcRect t="15608"/>
          <a:stretch/>
        </p:blipFill>
        <p:spPr>
          <a:xfrm>
            <a:off x="6094205" y="5348007"/>
            <a:ext cx="791528" cy="333994"/>
          </a:xfrm>
          <a:prstGeom prst="rect">
            <a:avLst/>
          </a:prstGeom>
        </p:spPr>
      </p:pic>
      <p:pic>
        <p:nvPicPr>
          <p:cNvPr id="135" name="Grafik 134">
            <a:extLst>
              <a:ext uri="{FF2B5EF4-FFF2-40B4-BE49-F238E27FC236}">
                <a16:creationId xmlns:a16="http://schemas.microsoft.com/office/drawing/2014/main" id="{3FAC7A5D-B763-751A-15C4-6753BF7B82A5}"/>
              </a:ext>
            </a:extLst>
          </p:cNvPr>
          <p:cNvPicPr>
            <a:picLocks noChangeAspect="1"/>
          </p:cNvPicPr>
          <p:nvPr/>
        </p:nvPicPr>
        <p:blipFill>
          <a:blip>
            <a:extLst>
              <a:ext uri="{96DAC541-7B7A-43D3-8B79-37D633B846F1}">
                <asvg:svgBlip xmlns:asvg="http://schemas.microsoft.com/office/drawing/2016/SVG/main" r:embed="rId9"/>
              </a:ext>
            </a:extLst>
          </a:blip>
          <a:srcRect/>
          <a:stretch/>
        </p:blipFill>
        <p:spPr>
          <a:xfrm>
            <a:off x="5421713" y="4790007"/>
            <a:ext cx="541064" cy="283114"/>
          </a:xfrm>
          <a:prstGeom prst="rect">
            <a:avLst/>
          </a:prstGeom>
        </p:spPr>
      </p:pic>
      <p:pic>
        <p:nvPicPr>
          <p:cNvPr id="136" name="Grafik 135">
            <a:extLst>
              <a:ext uri="{FF2B5EF4-FFF2-40B4-BE49-F238E27FC236}">
                <a16:creationId xmlns:a16="http://schemas.microsoft.com/office/drawing/2014/main" id="{A9EBC77C-BCEB-C968-F177-9082A71D76CC}"/>
              </a:ext>
            </a:extLst>
          </p:cNvPr>
          <p:cNvPicPr>
            <a:picLocks noChangeAspect="1"/>
          </p:cNvPicPr>
          <p:nvPr/>
        </p:nvPicPr>
        <p:blipFill>
          <a:blip>
            <a:extLst>
              <a:ext uri="{96DAC541-7B7A-43D3-8B79-37D633B846F1}">
                <asvg:svgBlip xmlns:asvg="http://schemas.microsoft.com/office/drawing/2016/SVG/main" r:embed="rId10"/>
              </a:ext>
            </a:extLst>
          </a:blip>
          <a:srcRect/>
          <a:stretch/>
        </p:blipFill>
        <p:spPr>
          <a:xfrm>
            <a:off x="6170623" y="5022378"/>
            <a:ext cx="554645" cy="177713"/>
          </a:xfrm>
          <a:prstGeom prst="rect">
            <a:avLst/>
          </a:prstGeom>
        </p:spPr>
      </p:pic>
      <p:pic>
        <p:nvPicPr>
          <p:cNvPr id="139" name="Grafik 138">
            <a:extLst>
              <a:ext uri="{FF2B5EF4-FFF2-40B4-BE49-F238E27FC236}">
                <a16:creationId xmlns:a16="http://schemas.microsoft.com/office/drawing/2014/main" id="{82EF4664-E5CD-B79B-B2BF-B6E9A3237193}"/>
              </a:ext>
            </a:extLst>
          </p:cNvPr>
          <p:cNvPicPr>
            <a:picLocks noChangeAspect="1"/>
          </p:cNvPicPr>
          <p:nvPr/>
        </p:nvPicPr>
        <p:blipFill>
          <a:blip r:embed="rId11"/>
          <a:srcRect/>
          <a:stretch/>
        </p:blipFill>
        <p:spPr>
          <a:xfrm>
            <a:off x="5415378" y="4338031"/>
            <a:ext cx="551416" cy="172419"/>
          </a:xfrm>
          <a:prstGeom prst="rect">
            <a:avLst/>
          </a:prstGeom>
        </p:spPr>
      </p:pic>
      <p:pic>
        <p:nvPicPr>
          <p:cNvPr id="140" name="Grafik 139">
            <a:extLst>
              <a:ext uri="{FF2B5EF4-FFF2-40B4-BE49-F238E27FC236}">
                <a16:creationId xmlns:a16="http://schemas.microsoft.com/office/drawing/2014/main" id="{912A4D78-91B7-8E7B-B2AC-07BD5949DCE8}"/>
              </a:ext>
            </a:extLst>
          </p:cNvPr>
          <p:cNvPicPr>
            <a:picLocks noChangeAspect="1"/>
          </p:cNvPicPr>
          <p:nvPr/>
        </p:nvPicPr>
        <p:blipFill>
          <a:blip>
            <a:extLst>
              <a:ext uri="{96DAC541-7B7A-43D3-8B79-37D633B846F1}">
                <asvg:svgBlip xmlns:asvg="http://schemas.microsoft.com/office/drawing/2016/SVG/main" r:embed="rId12"/>
              </a:ext>
            </a:extLst>
          </a:blip>
          <a:srcRect/>
          <a:stretch/>
        </p:blipFill>
        <p:spPr>
          <a:xfrm>
            <a:off x="1947531" y="3450991"/>
            <a:ext cx="583073" cy="162562"/>
          </a:xfrm>
          <a:prstGeom prst="rect">
            <a:avLst/>
          </a:prstGeom>
        </p:spPr>
      </p:pic>
      <p:pic>
        <p:nvPicPr>
          <p:cNvPr id="142" name="Grafik 141">
            <a:extLst>
              <a:ext uri="{FF2B5EF4-FFF2-40B4-BE49-F238E27FC236}">
                <a16:creationId xmlns:a16="http://schemas.microsoft.com/office/drawing/2014/main" id="{E5EBE54D-D4F7-C72B-87B8-3F2D174745DD}"/>
              </a:ext>
            </a:extLst>
          </p:cNvPr>
          <p:cNvPicPr>
            <a:picLocks noChangeAspect="1"/>
          </p:cNvPicPr>
          <p:nvPr/>
        </p:nvPicPr>
        <p:blipFill>
          <a:blip r:embed="rId13"/>
          <a:srcRect/>
          <a:stretch/>
        </p:blipFill>
        <p:spPr>
          <a:xfrm>
            <a:off x="3783085" y="4756062"/>
            <a:ext cx="560866" cy="185398"/>
          </a:xfrm>
          <a:prstGeom prst="rect">
            <a:avLst/>
          </a:prstGeom>
        </p:spPr>
      </p:pic>
      <p:pic>
        <p:nvPicPr>
          <p:cNvPr id="144" name="Grafik 143">
            <a:extLst>
              <a:ext uri="{FF2B5EF4-FFF2-40B4-BE49-F238E27FC236}">
                <a16:creationId xmlns:a16="http://schemas.microsoft.com/office/drawing/2014/main" id="{6431F2EA-A71E-114D-63A2-EAD95FC6AF0E}"/>
              </a:ext>
            </a:extLst>
          </p:cNvPr>
          <p:cNvPicPr>
            <a:picLocks noChangeAspect="1"/>
          </p:cNvPicPr>
          <p:nvPr/>
        </p:nvPicPr>
        <p:blipFill>
          <a:blip>
            <a:extLst>
              <a:ext uri="{96DAC541-7B7A-43D3-8B79-37D633B846F1}">
                <asvg:svgBlip xmlns:asvg="http://schemas.microsoft.com/office/drawing/2016/SVG/main" r:embed="rId14"/>
              </a:ext>
            </a:extLst>
          </a:blip>
          <a:srcRect/>
          <a:stretch/>
        </p:blipFill>
        <p:spPr>
          <a:xfrm>
            <a:off x="3014066" y="4920212"/>
            <a:ext cx="627148" cy="264386"/>
          </a:xfrm>
          <a:prstGeom prst="rect">
            <a:avLst/>
          </a:prstGeom>
        </p:spPr>
      </p:pic>
      <p:pic>
        <p:nvPicPr>
          <p:cNvPr id="145" name="Grafik 144">
            <a:extLst>
              <a:ext uri="{FF2B5EF4-FFF2-40B4-BE49-F238E27FC236}">
                <a16:creationId xmlns:a16="http://schemas.microsoft.com/office/drawing/2014/main" id="{20D65799-9DEE-7340-C3B1-3819490EAF39}"/>
              </a:ext>
            </a:extLst>
          </p:cNvPr>
          <p:cNvPicPr>
            <a:picLocks noChangeAspect="1"/>
          </p:cNvPicPr>
          <p:nvPr/>
        </p:nvPicPr>
        <p:blipFill>
          <a:blip>
            <a:extLst>
              <a:ext uri="{96DAC541-7B7A-43D3-8B79-37D633B846F1}">
                <asvg:svgBlip xmlns:asvg="http://schemas.microsoft.com/office/drawing/2016/SVG/main" r:embed="rId15"/>
              </a:ext>
            </a:extLst>
          </a:blip>
          <a:srcRect/>
          <a:stretch/>
        </p:blipFill>
        <p:spPr>
          <a:xfrm>
            <a:off x="3784987" y="5219788"/>
            <a:ext cx="561337" cy="177202"/>
          </a:xfrm>
          <a:prstGeom prst="rect">
            <a:avLst/>
          </a:prstGeom>
        </p:spPr>
      </p:pic>
      <p:pic>
        <p:nvPicPr>
          <p:cNvPr id="147" name="Grafik 146">
            <a:extLst>
              <a:ext uri="{FF2B5EF4-FFF2-40B4-BE49-F238E27FC236}">
                <a16:creationId xmlns:a16="http://schemas.microsoft.com/office/drawing/2014/main" id="{DD2FEC6B-E635-E6F6-17AB-EBED589008FA}"/>
              </a:ext>
            </a:extLst>
          </p:cNvPr>
          <p:cNvPicPr>
            <a:picLocks noChangeAspect="1"/>
          </p:cNvPicPr>
          <p:nvPr/>
        </p:nvPicPr>
        <p:blipFill>
          <a:blip>
            <a:extLst>
              <a:ext uri="{96DAC541-7B7A-43D3-8B79-37D633B846F1}">
                <asvg:svgBlip xmlns:asvg="http://schemas.microsoft.com/office/drawing/2016/SVG/main" r:embed="rId16"/>
              </a:ext>
            </a:extLst>
          </a:blip>
          <a:srcRect/>
          <a:stretch/>
        </p:blipFill>
        <p:spPr>
          <a:xfrm>
            <a:off x="6167939" y="4582768"/>
            <a:ext cx="717801" cy="241413"/>
          </a:xfrm>
          <a:prstGeom prst="rect">
            <a:avLst/>
          </a:prstGeom>
        </p:spPr>
      </p:pic>
      <p:pic>
        <p:nvPicPr>
          <p:cNvPr id="148" name="Grafik 147">
            <a:extLst>
              <a:ext uri="{FF2B5EF4-FFF2-40B4-BE49-F238E27FC236}">
                <a16:creationId xmlns:a16="http://schemas.microsoft.com/office/drawing/2014/main" id="{6B1DCF96-A70A-2ECA-D847-90EE32F8D5D6}"/>
              </a:ext>
            </a:extLst>
          </p:cNvPr>
          <p:cNvPicPr>
            <a:picLocks noChangeAspect="1"/>
          </p:cNvPicPr>
          <p:nvPr/>
        </p:nvPicPr>
        <p:blipFill>
          <a:blip>
            <a:extLst>
              <a:ext uri="{96DAC541-7B7A-43D3-8B79-37D633B846F1}">
                <asvg:svgBlip xmlns:asvg="http://schemas.microsoft.com/office/drawing/2016/SVG/main" r:embed="rId17"/>
              </a:ext>
            </a:extLst>
          </a:blip>
          <a:srcRect/>
          <a:stretch/>
        </p:blipFill>
        <p:spPr>
          <a:xfrm>
            <a:off x="6170967" y="4126237"/>
            <a:ext cx="579331" cy="180893"/>
          </a:xfrm>
          <a:prstGeom prst="rect">
            <a:avLst/>
          </a:prstGeom>
        </p:spPr>
      </p:pic>
      <p:pic>
        <p:nvPicPr>
          <p:cNvPr id="149" name="Grafik 148">
            <a:extLst>
              <a:ext uri="{FF2B5EF4-FFF2-40B4-BE49-F238E27FC236}">
                <a16:creationId xmlns:a16="http://schemas.microsoft.com/office/drawing/2014/main" id="{56B7C306-25C8-D668-E1BB-098BAF0668A5}"/>
              </a:ext>
            </a:extLst>
          </p:cNvPr>
          <p:cNvPicPr>
            <a:picLocks noChangeAspect="1"/>
          </p:cNvPicPr>
          <p:nvPr/>
        </p:nvPicPr>
        <p:blipFill>
          <a:blip>
            <a:extLst>
              <a:ext uri="{96DAC541-7B7A-43D3-8B79-37D633B846F1}">
                <asvg:svgBlip xmlns:asvg="http://schemas.microsoft.com/office/drawing/2016/SVG/main" r:embed="rId18"/>
              </a:ext>
            </a:extLst>
          </a:blip>
          <a:srcRect/>
          <a:stretch/>
        </p:blipFill>
        <p:spPr>
          <a:xfrm>
            <a:off x="6225185" y="3232137"/>
            <a:ext cx="573472" cy="201300"/>
          </a:xfrm>
          <a:prstGeom prst="rect">
            <a:avLst/>
          </a:prstGeom>
        </p:spPr>
      </p:pic>
      <p:pic>
        <p:nvPicPr>
          <p:cNvPr id="154" name="Grafik 153">
            <a:extLst>
              <a:ext uri="{FF2B5EF4-FFF2-40B4-BE49-F238E27FC236}">
                <a16:creationId xmlns:a16="http://schemas.microsoft.com/office/drawing/2014/main" id="{7C202B48-A792-D6D8-0DC7-3E21C670A699}"/>
              </a:ext>
            </a:extLst>
          </p:cNvPr>
          <p:cNvPicPr>
            <a:picLocks noChangeAspect="1"/>
          </p:cNvPicPr>
          <p:nvPr/>
        </p:nvPicPr>
        <p:blipFill>
          <a:blip>
            <a:extLst>
              <a:ext uri="{96DAC541-7B7A-43D3-8B79-37D633B846F1}">
                <asvg:svgBlip xmlns:asvg="http://schemas.microsoft.com/office/drawing/2016/SVG/main" r:embed="rId19"/>
              </a:ext>
            </a:extLst>
          </a:blip>
          <a:srcRect/>
          <a:stretch/>
        </p:blipFill>
        <p:spPr>
          <a:xfrm>
            <a:off x="7026128" y="2999802"/>
            <a:ext cx="573472" cy="180234"/>
          </a:xfrm>
          <a:prstGeom prst="rect">
            <a:avLst/>
          </a:prstGeom>
        </p:spPr>
      </p:pic>
      <p:pic>
        <p:nvPicPr>
          <p:cNvPr id="155" name="Grafik 154">
            <a:extLst>
              <a:ext uri="{FF2B5EF4-FFF2-40B4-BE49-F238E27FC236}">
                <a16:creationId xmlns:a16="http://schemas.microsoft.com/office/drawing/2014/main" id="{2837F21B-8235-B68D-E848-21F247F2CBA8}"/>
              </a:ext>
            </a:extLst>
          </p:cNvPr>
          <p:cNvPicPr>
            <a:picLocks noChangeAspect="1"/>
          </p:cNvPicPr>
          <p:nvPr/>
        </p:nvPicPr>
        <p:blipFill>
          <a:blip>
            <a:extLst>
              <a:ext uri="{96DAC541-7B7A-43D3-8B79-37D633B846F1}">
                <asvg:svgBlip xmlns:asvg="http://schemas.microsoft.com/office/drawing/2016/SVG/main" r:embed="rId20"/>
              </a:ext>
            </a:extLst>
          </a:blip>
          <a:srcRect/>
          <a:stretch/>
        </p:blipFill>
        <p:spPr>
          <a:xfrm>
            <a:off x="8315248" y="4821739"/>
            <a:ext cx="535876" cy="149519"/>
          </a:xfrm>
          <a:prstGeom prst="rect">
            <a:avLst/>
          </a:prstGeom>
        </p:spPr>
      </p:pic>
      <p:pic>
        <p:nvPicPr>
          <p:cNvPr id="156" name="Grafik 155">
            <a:extLst>
              <a:ext uri="{FF2B5EF4-FFF2-40B4-BE49-F238E27FC236}">
                <a16:creationId xmlns:a16="http://schemas.microsoft.com/office/drawing/2014/main" id="{EF43D428-BEDB-9431-B772-623BE1C27300}"/>
              </a:ext>
            </a:extLst>
          </p:cNvPr>
          <p:cNvPicPr>
            <a:picLocks noChangeAspect="1"/>
          </p:cNvPicPr>
          <p:nvPr/>
        </p:nvPicPr>
        <p:blipFill>
          <a:blip>
            <a:extLst>
              <a:ext uri="{96DAC541-7B7A-43D3-8B79-37D633B846F1}">
                <asvg:svgBlip xmlns:asvg="http://schemas.microsoft.com/office/drawing/2016/SVG/main" r:embed="rId21"/>
              </a:ext>
            </a:extLst>
          </a:blip>
          <a:srcRect/>
          <a:stretch/>
        </p:blipFill>
        <p:spPr>
          <a:xfrm>
            <a:off x="7649946" y="5043898"/>
            <a:ext cx="509262" cy="184997"/>
          </a:xfrm>
          <a:prstGeom prst="rect">
            <a:avLst/>
          </a:prstGeom>
        </p:spPr>
      </p:pic>
      <p:pic>
        <p:nvPicPr>
          <p:cNvPr id="158" name="Grafik 157">
            <a:extLst>
              <a:ext uri="{FF2B5EF4-FFF2-40B4-BE49-F238E27FC236}">
                <a16:creationId xmlns:a16="http://schemas.microsoft.com/office/drawing/2014/main" id="{BA79E2AA-C59F-449F-A90E-905657D4AAFC}"/>
              </a:ext>
            </a:extLst>
          </p:cNvPr>
          <p:cNvPicPr>
            <a:picLocks noChangeAspect="1"/>
          </p:cNvPicPr>
          <p:nvPr/>
        </p:nvPicPr>
        <p:blipFill>
          <a:blip>
            <a:extLst>
              <a:ext uri="{96DAC541-7B7A-43D3-8B79-37D633B846F1}">
                <asvg:svgBlip xmlns:asvg="http://schemas.microsoft.com/office/drawing/2016/SVG/main" r:embed="rId22"/>
              </a:ext>
            </a:extLst>
          </a:blip>
          <a:srcRect/>
          <a:stretch/>
        </p:blipFill>
        <p:spPr>
          <a:xfrm>
            <a:off x="7655124" y="4547537"/>
            <a:ext cx="509578" cy="206951"/>
          </a:xfrm>
          <a:prstGeom prst="rect">
            <a:avLst/>
          </a:prstGeom>
        </p:spPr>
      </p:pic>
      <p:pic>
        <p:nvPicPr>
          <p:cNvPr id="159" name="Grafik 158">
            <a:extLst>
              <a:ext uri="{FF2B5EF4-FFF2-40B4-BE49-F238E27FC236}">
                <a16:creationId xmlns:a16="http://schemas.microsoft.com/office/drawing/2014/main" id="{435B2957-155D-8E0B-8D66-5E5E364B5E13}"/>
              </a:ext>
            </a:extLst>
          </p:cNvPr>
          <p:cNvPicPr>
            <a:picLocks noChangeAspect="1"/>
          </p:cNvPicPr>
          <p:nvPr/>
        </p:nvPicPr>
        <p:blipFill>
          <a:blip>
            <a:extLst>
              <a:ext uri="{96DAC541-7B7A-43D3-8B79-37D633B846F1}">
                <asvg:svgBlip xmlns:asvg="http://schemas.microsoft.com/office/drawing/2016/SVG/main" r:embed="rId23"/>
              </a:ext>
            </a:extLst>
          </a:blip>
          <a:srcRect/>
          <a:stretch/>
        </p:blipFill>
        <p:spPr>
          <a:xfrm>
            <a:off x="9208528" y="3474129"/>
            <a:ext cx="656056" cy="174432"/>
          </a:xfrm>
          <a:prstGeom prst="rect">
            <a:avLst/>
          </a:prstGeom>
        </p:spPr>
      </p:pic>
      <p:pic>
        <p:nvPicPr>
          <p:cNvPr id="161" name="Grafik 160">
            <a:extLst>
              <a:ext uri="{FF2B5EF4-FFF2-40B4-BE49-F238E27FC236}">
                <a16:creationId xmlns:a16="http://schemas.microsoft.com/office/drawing/2014/main" id="{BB3392D9-07C9-B0A8-8B7E-ECAB8F3FE298}"/>
              </a:ext>
            </a:extLst>
          </p:cNvPr>
          <p:cNvPicPr>
            <a:picLocks noChangeAspect="1"/>
          </p:cNvPicPr>
          <p:nvPr/>
        </p:nvPicPr>
        <p:blipFill>
          <a:blip>
            <a:extLst>
              <a:ext uri="{96DAC541-7B7A-43D3-8B79-37D633B846F1}">
                <asvg:svgBlip xmlns:asvg="http://schemas.microsoft.com/office/drawing/2016/SVG/main" r:embed="rId24"/>
              </a:ext>
            </a:extLst>
          </a:blip>
          <a:srcRect/>
          <a:stretch/>
        </p:blipFill>
        <p:spPr>
          <a:xfrm>
            <a:off x="9206060" y="2997624"/>
            <a:ext cx="660991" cy="193986"/>
          </a:xfrm>
          <a:prstGeom prst="rect">
            <a:avLst/>
          </a:prstGeom>
        </p:spPr>
      </p:pic>
      <p:pic>
        <p:nvPicPr>
          <p:cNvPr id="162" name="Grafik 161">
            <a:extLst>
              <a:ext uri="{FF2B5EF4-FFF2-40B4-BE49-F238E27FC236}">
                <a16:creationId xmlns:a16="http://schemas.microsoft.com/office/drawing/2014/main" id="{E63059C2-2CB1-B5FD-87B9-E9738C3E0859}"/>
              </a:ext>
            </a:extLst>
          </p:cNvPr>
          <p:cNvPicPr>
            <a:picLocks noChangeAspect="1"/>
          </p:cNvPicPr>
          <p:nvPr/>
        </p:nvPicPr>
        <p:blipFill>
          <a:blip>
            <a:extLst>
              <a:ext uri="{96DAC541-7B7A-43D3-8B79-37D633B846F1}">
                <asvg:svgBlip xmlns:asvg="http://schemas.microsoft.com/office/drawing/2016/SVG/main" r:embed="rId25"/>
              </a:ext>
            </a:extLst>
          </a:blip>
          <a:srcRect t="34704" b="34704"/>
          <a:stretch/>
        </p:blipFill>
        <p:spPr>
          <a:xfrm>
            <a:off x="8472612" y="2747503"/>
            <a:ext cx="537800" cy="232820"/>
          </a:xfrm>
          <a:prstGeom prst="rect">
            <a:avLst/>
          </a:prstGeom>
        </p:spPr>
      </p:pic>
      <p:pic>
        <p:nvPicPr>
          <p:cNvPr id="163" name="Grafik 162">
            <a:extLst>
              <a:ext uri="{FF2B5EF4-FFF2-40B4-BE49-F238E27FC236}">
                <a16:creationId xmlns:a16="http://schemas.microsoft.com/office/drawing/2014/main" id="{DFC352DF-8AA6-1240-30C1-064130454BFF}"/>
              </a:ext>
            </a:extLst>
          </p:cNvPr>
          <p:cNvPicPr>
            <a:picLocks noChangeAspect="1"/>
          </p:cNvPicPr>
          <p:nvPr/>
        </p:nvPicPr>
        <p:blipFill>
          <a:blip>
            <a:extLst>
              <a:ext uri="{96DAC541-7B7A-43D3-8B79-37D633B846F1}">
                <asvg:svgBlip xmlns:asvg="http://schemas.microsoft.com/office/drawing/2016/SVG/main" r:embed="rId26"/>
              </a:ext>
            </a:extLst>
          </a:blip>
          <a:srcRect/>
          <a:stretch/>
        </p:blipFill>
        <p:spPr>
          <a:xfrm>
            <a:off x="8330900" y="4365205"/>
            <a:ext cx="488206" cy="169443"/>
          </a:xfrm>
          <a:prstGeom prst="rect">
            <a:avLst/>
          </a:prstGeom>
        </p:spPr>
      </p:pic>
      <p:pic>
        <p:nvPicPr>
          <p:cNvPr id="164" name="Grafik 163">
            <a:extLst>
              <a:ext uri="{FF2B5EF4-FFF2-40B4-BE49-F238E27FC236}">
                <a16:creationId xmlns:a16="http://schemas.microsoft.com/office/drawing/2014/main" id="{08031085-4EE6-B277-66DE-60764D05FCDF}"/>
              </a:ext>
            </a:extLst>
          </p:cNvPr>
          <p:cNvPicPr>
            <a:picLocks noChangeAspect="1"/>
          </p:cNvPicPr>
          <p:nvPr/>
        </p:nvPicPr>
        <p:blipFill>
          <a:blip r:embed="rId27"/>
          <a:srcRect/>
          <a:stretch/>
        </p:blipFill>
        <p:spPr>
          <a:xfrm>
            <a:off x="7797958" y="5427846"/>
            <a:ext cx="345664" cy="288686"/>
          </a:xfrm>
          <a:prstGeom prst="rect">
            <a:avLst/>
          </a:prstGeom>
        </p:spPr>
      </p:pic>
      <p:pic>
        <p:nvPicPr>
          <p:cNvPr id="165" name="Grafik 164">
            <a:extLst>
              <a:ext uri="{FF2B5EF4-FFF2-40B4-BE49-F238E27FC236}">
                <a16:creationId xmlns:a16="http://schemas.microsoft.com/office/drawing/2014/main" id="{C4341720-C90E-540E-BE2E-79AB612AAFFE}"/>
              </a:ext>
            </a:extLst>
          </p:cNvPr>
          <p:cNvPicPr>
            <a:picLocks noChangeAspect="1"/>
          </p:cNvPicPr>
          <p:nvPr/>
        </p:nvPicPr>
        <p:blipFill>
          <a:blip>
            <a:extLst>
              <a:ext uri="{96DAC541-7B7A-43D3-8B79-37D633B846F1}">
                <asvg:svgBlip xmlns:asvg="http://schemas.microsoft.com/office/drawing/2016/SVG/main" r:embed="rId28"/>
              </a:ext>
            </a:extLst>
          </a:blip>
          <a:srcRect/>
          <a:stretch/>
        </p:blipFill>
        <p:spPr>
          <a:xfrm>
            <a:off x="7655124" y="4191118"/>
            <a:ext cx="504084" cy="121118"/>
          </a:xfrm>
          <a:prstGeom prst="rect">
            <a:avLst/>
          </a:prstGeom>
        </p:spPr>
      </p:pic>
      <p:pic>
        <p:nvPicPr>
          <p:cNvPr id="166" name="Grafik 165">
            <a:extLst>
              <a:ext uri="{FF2B5EF4-FFF2-40B4-BE49-F238E27FC236}">
                <a16:creationId xmlns:a16="http://schemas.microsoft.com/office/drawing/2014/main" id="{ADAE331E-9781-7FB1-CF28-61F459B0D669}"/>
              </a:ext>
            </a:extLst>
          </p:cNvPr>
          <p:cNvPicPr>
            <a:picLocks noChangeAspect="1"/>
          </p:cNvPicPr>
          <p:nvPr/>
        </p:nvPicPr>
        <p:blipFill>
          <a:blip r:embed="rId29"/>
          <a:srcRect/>
          <a:stretch/>
        </p:blipFill>
        <p:spPr>
          <a:xfrm>
            <a:off x="3793967" y="4326086"/>
            <a:ext cx="652095" cy="145532"/>
          </a:xfrm>
          <a:prstGeom prst="rect">
            <a:avLst/>
          </a:prstGeom>
        </p:spPr>
      </p:pic>
      <p:sp>
        <p:nvSpPr>
          <p:cNvPr id="168" name="Oval 156">
            <a:extLst>
              <a:ext uri="{FF2B5EF4-FFF2-40B4-BE49-F238E27FC236}">
                <a16:creationId xmlns:a16="http://schemas.microsoft.com/office/drawing/2014/main" id="{8EE1BBF9-15AD-ACF6-33C0-5B1E685C8731}"/>
              </a:ext>
            </a:extLst>
          </p:cNvPr>
          <p:cNvSpPr/>
          <p:nvPr/>
        </p:nvSpPr>
        <p:spPr>
          <a:xfrm>
            <a:off x="3641214" y="437406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69" name="Grafik 168">
            <a:extLst>
              <a:ext uri="{FF2B5EF4-FFF2-40B4-BE49-F238E27FC236}">
                <a16:creationId xmlns:a16="http://schemas.microsoft.com/office/drawing/2014/main" id="{84B283AE-2AB8-CE13-2E34-8C6433BBC346}"/>
              </a:ext>
            </a:extLst>
          </p:cNvPr>
          <p:cNvPicPr>
            <a:picLocks noChangeAspect="1"/>
          </p:cNvPicPr>
          <p:nvPr/>
        </p:nvPicPr>
        <p:blipFill>
          <a:blip>
            <a:extLst>
              <a:ext uri="{96DAC541-7B7A-43D3-8B79-37D633B846F1}">
                <asvg:svgBlip xmlns:asvg="http://schemas.microsoft.com/office/drawing/2016/SVG/main" r:embed="rId30"/>
              </a:ext>
            </a:extLst>
          </a:blip>
          <a:srcRect/>
          <a:stretch/>
        </p:blipFill>
        <p:spPr>
          <a:xfrm>
            <a:off x="8476850" y="3208945"/>
            <a:ext cx="540076" cy="185576"/>
          </a:xfrm>
          <a:prstGeom prst="rect">
            <a:avLst/>
          </a:prstGeom>
        </p:spPr>
      </p:pic>
      <p:pic>
        <p:nvPicPr>
          <p:cNvPr id="170" name="Grafik 169">
            <a:extLst>
              <a:ext uri="{FF2B5EF4-FFF2-40B4-BE49-F238E27FC236}">
                <a16:creationId xmlns:a16="http://schemas.microsoft.com/office/drawing/2014/main" id="{1C76E297-EA09-2A82-F755-18AC54EBCF76}"/>
              </a:ext>
            </a:extLst>
          </p:cNvPr>
          <p:cNvPicPr>
            <a:picLocks noChangeAspect="1"/>
          </p:cNvPicPr>
          <p:nvPr/>
        </p:nvPicPr>
        <p:blipFill>
          <a:blip>
            <a:extLst>
              <a:ext uri="{96DAC541-7B7A-43D3-8B79-37D633B846F1}">
                <asvg:svgBlip xmlns:asvg="http://schemas.microsoft.com/office/drawing/2016/SVG/main" r:embed="rId31"/>
              </a:ext>
            </a:extLst>
          </a:blip>
          <a:srcRect/>
          <a:stretch/>
        </p:blipFill>
        <p:spPr>
          <a:xfrm>
            <a:off x="4865543" y="3222504"/>
            <a:ext cx="977592" cy="170205"/>
          </a:xfrm>
          <a:prstGeom prst="rect">
            <a:avLst/>
          </a:prstGeom>
        </p:spPr>
      </p:pic>
      <p:pic>
        <p:nvPicPr>
          <p:cNvPr id="172" name="Grafik 171" descr="News und Pressemitteilugen">
            <a:extLst>
              <a:ext uri="{FF2B5EF4-FFF2-40B4-BE49-F238E27FC236}">
                <a16:creationId xmlns:a16="http://schemas.microsoft.com/office/drawing/2014/main" id="{E420B004-D6D5-D6FE-24FB-7A585F31FEA1}"/>
              </a:ext>
            </a:extLst>
          </p:cNvPr>
          <p:cNvPicPr>
            <a:picLocks noChangeAspect="1"/>
          </p:cNvPicPr>
          <p:nvPr/>
        </p:nvPicPr>
        <p:blipFill rotWithShape="1">
          <a:blip r:embed="rId32"/>
          <a:srcRect l="5154" t="39044" b="39074"/>
          <a:stretch/>
        </p:blipFill>
        <p:spPr>
          <a:xfrm>
            <a:off x="2495085" y="4469147"/>
            <a:ext cx="1165401" cy="273032"/>
          </a:xfrm>
          <a:prstGeom prst="rect">
            <a:avLst/>
          </a:prstGeom>
        </p:spPr>
      </p:pic>
      <p:sp>
        <p:nvSpPr>
          <p:cNvPr id="173" name="Oval 14">
            <a:extLst>
              <a:ext uri="{FF2B5EF4-FFF2-40B4-BE49-F238E27FC236}">
                <a16:creationId xmlns:a16="http://schemas.microsoft.com/office/drawing/2014/main" id="{AC6A519F-AFB4-A136-8A96-C7236B9D29DC}"/>
              </a:ext>
            </a:extLst>
          </p:cNvPr>
          <p:cNvSpPr/>
          <p:nvPr/>
        </p:nvSpPr>
        <p:spPr>
          <a:xfrm>
            <a:off x="4750708" y="283652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74" name="Grafik 173">
            <a:extLst>
              <a:ext uri="{FF2B5EF4-FFF2-40B4-BE49-F238E27FC236}">
                <a16:creationId xmlns:a16="http://schemas.microsoft.com/office/drawing/2014/main" id="{06FC2DBC-1740-59DB-164D-3D9D557C3F82}"/>
              </a:ext>
            </a:extLst>
          </p:cNvPr>
          <p:cNvPicPr>
            <a:picLocks noChangeAspect="1"/>
          </p:cNvPicPr>
          <p:nvPr/>
        </p:nvPicPr>
        <p:blipFill>
          <a:blip>
            <a:extLst>
              <a:ext uri="{96DAC541-7B7A-43D3-8B79-37D633B846F1}">
                <asvg:svgBlip xmlns:asvg="http://schemas.microsoft.com/office/drawing/2016/SVG/main" r:embed="rId33"/>
              </a:ext>
            </a:extLst>
          </a:blip>
          <a:srcRect/>
          <a:stretch/>
        </p:blipFill>
        <p:spPr>
          <a:xfrm>
            <a:off x="7034178" y="3459840"/>
            <a:ext cx="579331" cy="182075"/>
          </a:xfrm>
          <a:prstGeom prst="rect">
            <a:avLst/>
          </a:prstGeom>
        </p:spPr>
      </p:pic>
      <p:pic>
        <p:nvPicPr>
          <p:cNvPr id="175" name="Grafik 174" descr="Ein Bild, das Text, Screenshot, Logo, Schrift enthält.&#10;&#10;Automatisch generierte Beschreibung">
            <a:extLst>
              <a:ext uri="{FF2B5EF4-FFF2-40B4-BE49-F238E27FC236}">
                <a16:creationId xmlns:a16="http://schemas.microsoft.com/office/drawing/2014/main" id="{77D68319-A077-3B81-5DE8-175C8CDC654A}"/>
              </a:ext>
            </a:extLst>
          </p:cNvPr>
          <p:cNvPicPr>
            <a:picLocks noChangeAspect="1"/>
          </p:cNvPicPr>
          <p:nvPr/>
        </p:nvPicPr>
        <p:blipFill rotWithShape="1">
          <a:blip r:embed="rId34"/>
          <a:srcRect l="43388" t="25616" r="42061" b="65370"/>
          <a:stretch/>
        </p:blipFill>
        <p:spPr>
          <a:xfrm>
            <a:off x="9191612" y="2480284"/>
            <a:ext cx="364940" cy="319515"/>
          </a:xfrm>
          <a:prstGeom prst="rect">
            <a:avLst/>
          </a:prstGeom>
        </p:spPr>
      </p:pic>
      <p:pic>
        <p:nvPicPr>
          <p:cNvPr id="181" name="Grafik 180" descr="Ein Bild, das Screenshot, Schrift, Schwarz, Grafiken enthält.&#10;&#10;Automatisch generierte Beschreibung">
            <a:extLst>
              <a:ext uri="{FF2B5EF4-FFF2-40B4-BE49-F238E27FC236}">
                <a16:creationId xmlns:a16="http://schemas.microsoft.com/office/drawing/2014/main" id="{611CB823-4F3A-E8E5-C9C8-196D2A8EE204}"/>
              </a:ext>
            </a:extLst>
          </p:cNvPr>
          <p:cNvPicPr>
            <a:picLocks noChangeAspect="1"/>
          </p:cNvPicPr>
          <p:nvPr/>
        </p:nvPicPr>
        <p:blipFill>
          <a:blip r:embed="rId35"/>
          <a:stretch>
            <a:fillRect/>
          </a:stretch>
        </p:blipFill>
        <p:spPr>
          <a:xfrm>
            <a:off x="754871" y="4208817"/>
            <a:ext cx="1042554" cy="307444"/>
          </a:xfrm>
          <a:prstGeom prst="rect">
            <a:avLst/>
          </a:prstGeom>
        </p:spPr>
      </p:pic>
      <p:sp>
        <p:nvSpPr>
          <p:cNvPr id="185" name="Oval 50">
            <a:extLst>
              <a:ext uri="{FF2B5EF4-FFF2-40B4-BE49-F238E27FC236}">
                <a16:creationId xmlns:a16="http://schemas.microsoft.com/office/drawing/2014/main" id="{C51E7D33-AAF1-EA87-412D-766FD69CD599}"/>
              </a:ext>
            </a:extLst>
          </p:cNvPr>
          <p:cNvSpPr/>
          <p:nvPr/>
        </p:nvSpPr>
        <p:spPr>
          <a:xfrm>
            <a:off x="6054466" y="530781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2" name="Oval 55">
            <a:extLst>
              <a:ext uri="{FF2B5EF4-FFF2-40B4-BE49-F238E27FC236}">
                <a16:creationId xmlns:a16="http://schemas.microsoft.com/office/drawing/2014/main" id="{CD8C1140-0489-F1D6-4EA4-D65B4FC8D4AE}"/>
              </a:ext>
            </a:extLst>
          </p:cNvPr>
          <p:cNvSpPr/>
          <p:nvPr/>
        </p:nvSpPr>
        <p:spPr>
          <a:xfrm>
            <a:off x="6054466" y="55332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3" name="Oval 62">
            <a:extLst>
              <a:ext uri="{FF2B5EF4-FFF2-40B4-BE49-F238E27FC236}">
                <a16:creationId xmlns:a16="http://schemas.microsoft.com/office/drawing/2014/main" id="{4B1C198B-8801-035B-0F0A-A434F202A69C}"/>
              </a:ext>
            </a:extLst>
          </p:cNvPr>
          <p:cNvSpPr/>
          <p:nvPr/>
        </p:nvSpPr>
        <p:spPr>
          <a:xfrm>
            <a:off x="6895535" y="305764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4" name="Oval 129">
            <a:extLst>
              <a:ext uri="{FF2B5EF4-FFF2-40B4-BE49-F238E27FC236}">
                <a16:creationId xmlns:a16="http://schemas.microsoft.com/office/drawing/2014/main" id="{52E43653-7F27-A223-BA4C-1A712BDADBB3}"/>
              </a:ext>
            </a:extLst>
          </p:cNvPr>
          <p:cNvSpPr/>
          <p:nvPr/>
        </p:nvSpPr>
        <p:spPr>
          <a:xfrm>
            <a:off x="8221910" y="46483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5" name="Oval 135">
            <a:extLst>
              <a:ext uri="{FF2B5EF4-FFF2-40B4-BE49-F238E27FC236}">
                <a16:creationId xmlns:a16="http://schemas.microsoft.com/office/drawing/2014/main" id="{4D2A795F-4BB2-7EF4-3574-87BA487F109B}"/>
              </a:ext>
            </a:extLst>
          </p:cNvPr>
          <p:cNvSpPr/>
          <p:nvPr/>
        </p:nvSpPr>
        <p:spPr>
          <a:xfrm>
            <a:off x="8221910" y="487379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9" name="Oval 139">
            <a:extLst>
              <a:ext uri="{FF2B5EF4-FFF2-40B4-BE49-F238E27FC236}">
                <a16:creationId xmlns:a16="http://schemas.microsoft.com/office/drawing/2014/main" id="{C0D3D880-DBB0-F7E7-8CD4-31438B10A790}"/>
              </a:ext>
            </a:extLst>
          </p:cNvPr>
          <p:cNvSpPr/>
          <p:nvPr/>
        </p:nvSpPr>
        <p:spPr>
          <a:xfrm>
            <a:off x="8221910" y="50960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1" name="Oval 143">
            <a:extLst>
              <a:ext uri="{FF2B5EF4-FFF2-40B4-BE49-F238E27FC236}">
                <a16:creationId xmlns:a16="http://schemas.microsoft.com/office/drawing/2014/main" id="{BE8B6A59-BA21-4051-5F80-999A4E732D70}"/>
              </a:ext>
            </a:extLst>
          </p:cNvPr>
          <p:cNvSpPr/>
          <p:nvPr/>
        </p:nvSpPr>
        <p:spPr>
          <a:xfrm>
            <a:off x="8218735" y="53246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3" name="Oval 158">
            <a:extLst>
              <a:ext uri="{FF2B5EF4-FFF2-40B4-BE49-F238E27FC236}">
                <a16:creationId xmlns:a16="http://schemas.microsoft.com/office/drawing/2014/main" id="{51EF1691-DAB3-CDFD-DEBB-C4BA360D6236}"/>
              </a:ext>
            </a:extLst>
          </p:cNvPr>
          <p:cNvSpPr/>
          <p:nvPr/>
        </p:nvSpPr>
        <p:spPr>
          <a:xfrm>
            <a:off x="9102466" y="240106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6" name="Oval 160">
            <a:extLst>
              <a:ext uri="{FF2B5EF4-FFF2-40B4-BE49-F238E27FC236}">
                <a16:creationId xmlns:a16="http://schemas.microsoft.com/office/drawing/2014/main" id="{5D55767D-1F35-F5C5-0618-7C95EEB436DA}"/>
              </a:ext>
            </a:extLst>
          </p:cNvPr>
          <p:cNvSpPr/>
          <p:nvPr/>
        </p:nvSpPr>
        <p:spPr>
          <a:xfrm>
            <a:off x="9102466" y="26195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8" name="Oval 161">
            <a:extLst>
              <a:ext uri="{FF2B5EF4-FFF2-40B4-BE49-F238E27FC236}">
                <a16:creationId xmlns:a16="http://schemas.microsoft.com/office/drawing/2014/main" id="{4493C9DB-2565-DD3C-72AA-94DA77ABBE72}"/>
              </a:ext>
            </a:extLst>
          </p:cNvPr>
          <p:cNvSpPr/>
          <p:nvPr/>
        </p:nvSpPr>
        <p:spPr>
          <a:xfrm>
            <a:off x="9102466" y="2844966"/>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1" name="Oval 162">
            <a:extLst>
              <a:ext uri="{FF2B5EF4-FFF2-40B4-BE49-F238E27FC236}">
                <a16:creationId xmlns:a16="http://schemas.microsoft.com/office/drawing/2014/main" id="{028BE740-63F1-60E9-5F0B-A1567690206D}"/>
              </a:ext>
            </a:extLst>
          </p:cNvPr>
          <p:cNvSpPr/>
          <p:nvPr/>
        </p:nvSpPr>
        <p:spPr>
          <a:xfrm>
            <a:off x="9102466" y="307039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2" name="Oval 163">
            <a:extLst>
              <a:ext uri="{FF2B5EF4-FFF2-40B4-BE49-F238E27FC236}">
                <a16:creationId xmlns:a16="http://schemas.microsoft.com/office/drawing/2014/main" id="{60F98368-7613-505B-8510-CB7AD50F3E88}"/>
              </a:ext>
            </a:extLst>
          </p:cNvPr>
          <p:cNvSpPr/>
          <p:nvPr/>
        </p:nvSpPr>
        <p:spPr>
          <a:xfrm>
            <a:off x="9102466" y="32926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3" name="Oval 164">
            <a:extLst>
              <a:ext uri="{FF2B5EF4-FFF2-40B4-BE49-F238E27FC236}">
                <a16:creationId xmlns:a16="http://schemas.microsoft.com/office/drawing/2014/main" id="{94B741EC-B0E1-56DA-916D-61944B8498C7}"/>
              </a:ext>
            </a:extLst>
          </p:cNvPr>
          <p:cNvSpPr/>
          <p:nvPr/>
        </p:nvSpPr>
        <p:spPr>
          <a:xfrm>
            <a:off x="9102466" y="35212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14" name="Grafik 213" descr="Ein Bild, das Schrift, Grafiken, Screenshot, Grafikdesign enthält.&#10;&#10;Automatisch generierte Beschreibung">
            <a:extLst>
              <a:ext uri="{FF2B5EF4-FFF2-40B4-BE49-F238E27FC236}">
                <a16:creationId xmlns:a16="http://schemas.microsoft.com/office/drawing/2014/main" id="{D938CDD1-00E3-1E2A-1E2B-C5E255CE73EB}"/>
              </a:ext>
            </a:extLst>
          </p:cNvPr>
          <p:cNvPicPr>
            <a:picLocks noChangeAspect="1"/>
          </p:cNvPicPr>
          <p:nvPr/>
        </p:nvPicPr>
        <p:blipFill>
          <a:blip r:embed="rId36"/>
          <a:stretch>
            <a:fillRect/>
          </a:stretch>
        </p:blipFill>
        <p:spPr>
          <a:xfrm>
            <a:off x="9369398" y="4591194"/>
            <a:ext cx="515509" cy="192248"/>
          </a:xfrm>
          <a:prstGeom prst="rect">
            <a:avLst/>
          </a:prstGeom>
        </p:spPr>
      </p:pic>
      <p:sp>
        <p:nvSpPr>
          <p:cNvPr id="216" name="Oval 169">
            <a:extLst>
              <a:ext uri="{FF2B5EF4-FFF2-40B4-BE49-F238E27FC236}">
                <a16:creationId xmlns:a16="http://schemas.microsoft.com/office/drawing/2014/main" id="{06286B65-84A8-D439-0E6D-DA489E37DF43}"/>
              </a:ext>
            </a:extLst>
          </p:cNvPr>
          <p:cNvSpPr/>
          <p:nvPr/>
        </p:nvSpPr>
        <p:spPr>
          <a:xfrm>
            <a:off x="9102466" y="218859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9" name="Oval 23">
            <a:extLst>
              <a:ext uri="{FF2B5EF4-FFF2-40B4-BE49-F238E27FC236}">
                <a16:creationId xmlns:a16="http://schemas.microsoft.com/office/drawing/2014/main" id="{A7334020-D142-4F96-B6B8-B8C7FB8EF08C}"/>
              </a:ext>
            </a:extLst>
          </p:cNvPr>
          <p:cNvSpPr/>
          <p:nvPr/>
        </p:nvSpPr>
        <p:spPr>
          <a:xfrm>
            <a:off x="9943577" y="46483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20" name="Grafik 219">
            <a:extLst>
              <a:ext uri="{FF2B5EF4-FFF2-40B4-BE49-F238E27FC236}">
                <a16:creationId xmlns:a16="http://schemas.microsoft.com/office/drawing/2014/main" id="{ACEF6FA0-C4B9-1220-43E6-A24622D2207F}"/>
              </a:ext>
            </a:extLst>
          </p:cNvPr>
          <p:cNvPicPr>
            <a:picLocks noChangeAspect="1"/>
          </p:cNvPicPr>
          <p:nvPr/>
        </p:nvPicPr>
        <p:blipFill>
          <a:blip>
            <a:extLst>
              <a:ext uri="{96DAC541-7B7A-43D3-8B79-37D633B846F1}">
                <asvg:svgBlip xmlns:asvg="http://schemas.microsoft.com/office/drawing/2016/SVG/main" r:embed="rId37"/>
              </a:ext>
            </a:extLst>
          </a:blip>
          <a:stretch>
            <a:fillRect/>
          </a:stretch>
        </p:blipFill>
        <p:spPr>
          <a:xfrm>
            <a:off x="2081177" y="2774810"/>
            <a:ext cx="629183" cy="223710"/>
          </a:xfrm>
          <a:prstGeom prst="rect">
            <a:avLst/>
          </a:prstGeom>
        </p:spPr>
      </p:pic>
      <p:pic>
        <p:nvPicPr>
          <p:cNvPr id="222" name="Grafik 221">
            <a:extLst>
              <a:ext uri="{FF2B5EF4-FFF2-40B4-BE49-F238E27FC236}">
                <a16:creationId xmlns:a16="http://schemas.microsoft.com/office/drawing/2014/main" id="{2BD7A932-395B-5A5E-9BFF-A4BD11371CBD}"/>
              </a:ext>
            </a:extLst>
          </p:cNvPr>
          <p:cNvPicPr>
            <a:picLocks noChangeAspect="1"/>
          </p:cNvPicPr>
          <p:nvPr/>
        </p:nvPicPr>
        <p:blipFill>
          <a:blip>
            <a:extLst>
              <a:ext uri="{96DAC541-7B7A-43D3-8B79-37D633B846F1}">
                <asvg:svgBlip xmlns:asvg="http://schemas.microsoft.com/office/drawing/2016/SVG/main" r:embed="rId38"/>
              </a:ext>
            </a:extLst>
          </a:blip>
          <a:stretch>
            <a:fillRect/>
          </a:stretch>
        </p:blipFill>
        <p:spPr>
          <a:xfrm>
            <a:off x="8318838" y="5276377"/>
            <a:ext cx="887417" cy="243364"/>
          </a:xfrm>
          <a:prstGeom prst="rect">
            <a:avLst/>
          </a:prstGeom>
        </p:spPr>
      </p:pic>
      <p:sp>
        <p:nvSpPr>
          <p:cNvPr id="223" name="Oval 26">
            <a:extLst>
              <a:ext uri="{FF2B5EF4-FFF2-40B4-BE49-F238E27FC236}">
                <a16:creationId xmlns:a16="http://schemas.microsoft.com/office/drawing/2014/main" id="{E94E6BA8-77AF-B7F5-F4BE-A811129AA417}"/>
              </a:ext>
            </a:extLst>
          </p:cNvPr>
          <p:cNvSpPr/>
          <p:nvPr/>
        </p:nvSpPr>
        <p:spPr>
          <a:xfrm>
            <a:off x="2769091" y="303272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24" name="Oval 27">
            <a:extLst>
              <a:ext uri="{FF2B5EF4-FFF2-40B4-BE49-F238E27FC236}">
                <a16:creationId xmlns:a16="http://schemas.microsoft.com/office/drawing/2014/main" id="{9F5B0A36-6C3E-2F6A-0383-7A54A4F79F36}"/>
              </a:ext>
            </a:extLst>
          </p:cNvPr>
          <p:cNvSpPr/>
          <p:nvPr/>
        </p:nvSpPr>
        <p:spPr>
          <a:xfrm>
            <a:off x="2768513" y="284131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25" name="Grafik 224" descr="Ein Bild, das Screenshot, Grafiken, Schrift, Symbol enthält.&#10;&#10;Automatisch generierte Beschreibung">
            <a:extLst>
              <a:ext uri="{FF2B5EF4-FFF2-40B4-BE49-F238E27FC236}">
                <a16:creationId xmlns:a16="http://schemas.microsoft.com/office/drawing/2014/main" id="{2E1E1A2D-C1CC-2D09-7114-8DCAFDDB2073}"/>
              </a:ext>
            </a:extLst>
          </p:cNvPr>
          <p:cNvPicPr>
            <a:picLocks noChangeAspect="1"/>
          </p:cNvPicPr>
          <p:nvPr/>
        </p:nvPicPr>
        <p:blipFill>
          <a:blip r:embed="rId39"/>
          <a:stretch>
            <a:fillRect/>
          </a:stretch>
        </p:blipFill>
        <p:spPr>
          <a:xfrm>
            <a:off x="8392992" y="2264235"/>
            <a:ext cx="684770" cy="297224"/>
          </a:xfrm>
          <a:prstGeom prst="rect">
            <a:avLst/>
          </a:prstGeom>
        </p:spPr>
      </p:pic>
      <p:sp>
        <p:nvSpPr>
          <p:cNvPr id="229" name="Oval 38">
            <a:extLst>
              <a:ext uri="{FF2B5EF4-FFF2-40B4-BE49-F238E27FC236}">
                <a16:creationId xmlns:a16="http://schemas.microsoft.com/office/drawing/2014/main" id="{A4C8BE34-5B5D-C461-2103-2293722C8174}"/>
              </a:ext>
            </a:extLst>
          </p:cNvPr>
          <p:cNvSpPr/>
          <p:nvPr/>
        </p:nvSpPr>
        <p:spPr>
          <a:xfrm>
            <a:off x="8218735" y="55500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31" name="Grafik 230">
            <a:extLst>
              <a:ext uri="{FF2B5EF4-FFF2-40B4-BE49-F238E27FC236}">
                <a16:creationId xmlns:a16="http://schemas.microsoft.com/office/drawing/2014/main" id="{9B4EFECD-326C-4094-D8FD-B4F866DEF1C4}"/>
              </a:ext>
            </a:extLst>
          </p:cNvPr>
          <p:cNvPicPr>
            <a:picLocks noChangeAspect="1"/>
          </p:cNvPicPr>
          <p:nvPr/>
        </p:nvPicPr>
        <p:blipFill>
          <a:blip>
            <a:extLst>
              <a:ext uri="{96DAC541-7B7A-43D3-8B79-37D633B846F1}">
                <asvg:svgBlip xmlns:asvg="http://schemas.microsoft.com/office/drawing/2016/SVG/main" r:embed="rId40"/>
              </a:ext>
            </a:extLst>
          </a:blip>
          <a:stretch>
            <a:fillRect/>
          </a:stretch>
        </p:blipFill>
        <p:spPr>
          <a:xfrm>
            <a:off x="11025234" y="3508038"/>
            <a:ext cx="858223" cy="266587"/>
          </a:xfrm>
          <a:prstGeom prst="rect">
            <a:avLst/>
          </a:prstGeom>
        </p:spPr>
      </p:pic>
      <p:pic>
        <p:nvPicPr>
          <p:cNvPr id="241" name="Grafik 240">
            <a:extLst>
              <a:ext uri="{FF2B5EF4-FFF2-40B4-BE49-F238E27FC236}">
                <a16:creationId xmlns:a16="http://schemas.microsoft.com/office/drawing/2014/main" id="{A365BEAB-E84F-AFC1-60A8-1ED6DA4A1A9F}"/>
              </a:ext>
            </a:extLst>
          </p:cNvPr>
          <p:cNvPicPr>
            <a:picLocks noChangeAspect="1"/>
          </p:cNvPicPr>
          <p:nvPr/>
        </p:nvPicPr>
        <p:blipFill>
          <a:blip r:embed="rId41"/>
          <a:srcRect/>
          <a:stretch/>
        </p:blipFill>
        <p:spPr>
          <a:xfrm>
            <a:off x="4094368" y="2984063"/>
            <a:ext cx="579331" cy="181704"/>
          </a:xfrm>
          <a:prstGeom prst="rect">
            <a:avLst/>
          </a:prstGeom>
        </p:spPr>
      </p:pic>
      <p:sp>
        <p:nvSpPr>
          <p:cNvPr id="242" name="Textfeld 241">
            <a:extLst>
              <a:ext uri="{FF2B5EF4-FFF2-40B4-BE49-F238E27FC236}">
                <a16:creationId xmlns:a16="http://schemas.microsoft.com/office/drawing/2014/main" id="{D43E7255-3C92-FE83-1ABF-6C19907F4FD9}"/>
              </a:ext>
            </a:extLst>
          </p:cNvPr>
          <p:cNvSpPr txBox="1"/>
          <p:nvPr/>
        </p:nvSpPr>
        <p:spPr>
          <a:xfrm>
            <a:off x="673216" y="3489262"/>
            <a:ext cx="828000" cy="274418"/>
          </a:xfrm>
          <a:prstGeom prst="rect">
            <a:avLst/>
          </a:prstGeom>
          <a:solidFill>
            <a:schemeClr val="bg1"/>
          </a:solidFill>
        </p:spPr>
        <p:txBody>
          <a:bodyPr wrap="none" lIns="0" tIns="0" rIns="0" bIns="0" rtlCol="0" anchor="ctr" anchorCtr="0">
            <a:noAutofit/>
          </a:bodyPr>
          <a:lstStyle/>
          <a:p>
            <a:pPr algn="ctr"/>
            <a:r>
              <a:rPr lang="de-DE" sz="3400">
                <a:blipFill dpi="0" rotWithShape="1">
                  <a:blip r:embed="rId4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80</a:t>
            </a:r>
          </a:p>
        </p:txBody>
      </p:sp>
      <p:sp>
        <p:nvSpPr>
          <p:cNvPr id="243" name="Textfeld 242">
            <a:extLst>
              <a:ext uri="{FF2B5EF4-FFF2-40B4-BE49-F238E27FC236}">
                <a16:creationId xmlns:a16="http://schemas.microsoft.com/office/drawing/2014/main" id="{9FAB19F5-7EE3-C6EE-AE2E-62AB99124ADE}"/>
              </a:ext>
            </a:extLst>
          </p:cNvPr>
          <p:cNvSpPr txBox="1"/>
          <p:nvPr/>
        </p:nvSpPr>
        <p:spPr>
          <a:xfrm>
            <a:off x="3183579" y="3489262"/>
            <a:ext cx="828000" cy="274418"/>
          </a:xfrm>
          <a:prstGeom prst="rect">
            <a:avLst/>
          </a:prstGeom>
          <a:solidFill>
            <a:schemeClr val="bg1"/>
          </a:solidFill>
        </p:spPr>
        <p:txBody>
          <a:bodyPr wrap="none" lIns="0" tIns="0" rIns="0" bIns="0" rtlCol="0" anchor="ctr" anchorCtr="0">
            <a:noAutofit/>
          </a:bodyPr>
          <a:lstStyle/>
          <a:p>
            <a:pPr algn="ctr"/>
            <a:r>
              <a:rPr lang="de-DE" sz="3400">
                <a:blipFill dpi="0" rotWithShape="1">
                  <a:blip r:embed="rId4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00</a:t>
            </a:r>
          </a:p>
        </p:txBody>
      </p:sp>
      <p:sp>
        <p:nvSpPr>
          <p:cNvPr id="244" name="Textfeld 243">
            <a:extLst>
              <a:ext uri="{FF2B5EF4-FFF2-40B4-BE49-F238E27FC236}">
                <a16:creationId xmlns:a16="http://schemas.microsoft.com/office/drawing/2014/main" id="{8D02D170-3B21-66DA-557E-CC992DBECF7D}"/>
              </a:ext>
            </a:extLst>
          </p:cNvPr>
          <p:cNvSpPr txBox="1"/>
          <p:nvPr/>
        </p:nvSpPr>
        <p:spPr>
          <a:xfrm>
            <a:off x="10330038" y="3977378"/>
            <a:ext cx="828000" cy="274418"/>
          </a:xfrm>
          <a:prstGeom prst="rect">
            <a:avLst/>
          </a:prstGeom>
          <a:solidFill>
            <a:schemeClr val="bg1"/>
          </a:solidFill>
        </p:spPr>
        <p:txBody>
          <a:bodyPr wrap="none" lIns="0" tIns="0" rIns="0" bIns="0" rtlCol="0" anchor="ctr" anchorCtr="0">
            <a:noAutofit/>
          </a:bodyPr>
          <a:lstStyle/>
          <a:p>
            <a:pPr algn="ctr"/>
            <a:r>
              <a:rPr lang="de-DE" sz="3400" dirty="0">
                <a:blipFill dpi="0" rotWithShape="1">
                  <a:blip r:embed="rId4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26</a:t>
            </a:r>
          </a:p>
        </p:txBody>
      </p:sp>
      <p:pic>
        <p:nvPicPr>
          <p:cNvPr id="245" name="Grafik 244" descr="Ein Bild, das Grafiken, Schrift, Farbigkeit, Screenshot enthält.&#10;&#10;KI-generierte Inhalte können fehlerhaft sein.">
            <a:extLst>
              <a:ext uri="{FF2B5EF4-FFF2-40B4-BE49-F238E27FC236}">
                <a16:creationId xmlns:a16="http://schemas.microsoft.com/office/drawing/2014/main" id="{4CC9E9CD-727E-648E-2642-708CD090F7AD}"/>
              </a:ext>
            </a:extLst>
          </p:cNvPr>
          <p:cNvPicPr>
            <a:picLocks noChangeAspect="1"/>
          </p:cNvPicPr>
          <p:nvPr/>
        </p:nvPicPr>
        <p:blipFill>
          <a:blip r:embed="rId43"/>
          <a:stretch>
            <a:fillRect/>
          </a:stretch>
        </p:blipFill>
        <p:spPr>
          <a:xfrm>
            <a:off x="10066317" y="4833905"/>
            <a:ext cx="674975" cy="107939"/>
          </a:xfrm>
          <a:prstGeom prst="rect">
            <a:avLst/>
          </a:prstGeom>
        </p:spPr>
      </p:pic>
      <p:sp>
        <p:nvSpPr>
          <p:cNvPr id="246" name="Oval 135">
            <a:extLst>
              <a:ext uri="{FF2B5EF4-FFF2-40B4-BE49-F238E27FC236}">
                <a16:creationId xmlns:a16="http://schemas.microsoft.com/office/drawing/2014/main" id="{1AE544A2-E877-31FC-6698-F83CA842CD64}"/>
              </a:ext>
            </a:extLst>
          </p:cNvPr>
          <p:cNvSpPr/>
          <p:nvPr/>
        </p:nvSpPr>
        <p:spPr>
          <a:xfrm>
            <a:off x="9943200" y="4874400"/>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Tree>
    <p:extLst>
      <p:ext uri="{BB962C8B-B14F-4D97-AF65-F5344CB8AC3E}">
        <p14:creationId xmlns:p14="http://schemas.microsoft.com/office/powerpoint/2010/main" val="3873831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Grafik 28">
            <a:extLst>
              <a:ext uri="{FF2B5EF4-FFF2-40B4-BE49-F238E27FC236}">
                <a16:creationId xmlns:a16="http://schemas.microsoft.com/office/drawing/2014/main" id="{AFD2B2E4-247F-C774-AC34-C5327899D5A9}"/>
              </a:ext>
            </a:extLst>
          </p:cNvPr>
          <p:cNvPicPr>
            <a:picLocks noChangeAspect="1"/>
          </p:cNvPicPr>
          <p:nvPr/>
        </p:nvPicPr>
        <p:blipFill>
          <a:blip r:embed="rId20"/>
          <a:srcRect t="4993" b="4993"/>
          <a:stretch/>
        </p:blipFill>
        <p:spPr>
          <a:xfrm>
            <a:off x="242867" y="1549594"/>
            <a:ext cx="10988646" cy="5087018"/>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306" imgH="306" progId="TCLayout.ActiveDocument.1">
                  <p:embed/>
                </p:oleObj>
              </mc:Choice>
              <mc:Fallback>
                <p:oleObj name="think-cell Folie" r:id="rId21"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5839AFDD-0D67-DEF1-9DFE-4BD62426BCB9}"/>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4" name="Titel 3">
            <a:extLst>
              <a:ext uri="{FF2B5EF4-FFF2-40B4-BE49-F238E27FC236}">
                <a16:creationId xmlns:a16="http://schemas.microsoft.com/office/drawing/2014/main" id="{B2233621-6E36-9963-EE01-84D31F79E12F}"/>
              </a:ext>
            </a:extLst>
          </p:cNvPr>
          <p:cNvSpPr>
            <a:spLocks noGrp="1"/>
          </p:cNvSpPr>
          <p:nvPr>
            <p:ph type="title"/>
          </p:nvPr>
        </p:nvSpPr>
        <p:spPr>
          <a:xfrm>
            <a:off x="623888" y="620713"/>
            <a:ext cx="9488833" cy="738664"/>
          </a:xfrm>
        </p:spPr>
        <p:txBody>
          <a:bodyPr/>
          <a:lstStyle/>
          <a:p>
            <a:r>
              <a:rPr lang="en-US" dirty="0"/>
              <a:t>We are an internationally operating group of companies </a:t>
            </a:r>
            <a:br>
              <a:rPr lang="en-US" dirty="0"/>
            </a:br>
            <a:r>
              <a:rPr lang="en-US" b="1" dirty="0"/>
              <a:t>with in-depth industry expertise</a:t>
            </a:r>
          </a:p>
        </p:txBody>
      </p:sp>
      <p:sp>
        <p:nvSpPr>
          <p:cNvPr id="3" name="Fußzeilenplatzhalter 1">
            <a:extLst>
              <a:ext uri="{FF2B5EF4-FFF2-40B4-BE49-F238E27FC236}">
                <a16:creationId xmlns:a16="http://schemas.microsoft.com/office/drawing/2014/main" id="{6190C980-C515-E2E1-5BF3-23A37BAEDC19}"/>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2</a:t>
            </a:fld>
            <a:endParaRPr lang="de-DE"/>
          </a:p>
        </p:txBody>
      </p:sp>
      <p:sp>
        <p:nvSpPr>
          <p:cNvPr id="7" name="Textfeld 6">
            <a:extLst>
              <a:ext uri="{FF2B5EF4-FFF2-40B4-BE49-F238E27FC236}">
                <a16:creationId xmlns:a16="http://schemas.microsoft.com/office/drawing/2014/main" id="{32CCA270-0FA9-F4DF-4603-B16D00DC2886}"/>
              </a:ext>
            </a:extLst>
          </p:cNvPr>
          <p:cNvSpPr txBox="1"/>
          <p:nvPr>
            <p:custDataLst>
              <p:tags r:id="rId2"/>
            </p:custDataLst>
          </p:nvPr>
        </p:nvSpPr>
        <p:spPr>
          <a:xfrm>
            <a:off x="1758457" y="2404748"/>
            <a:ext cx="1624327" cy="424785"/>
          </a:xfrm>
          <a:prstGeom prst="rect">
            <a:avLst/>
          </a:prstGeom>
          <a:noFill/>
        </p:spPr>
        <p:txBody>
          <a:bodyPr wrap="square" lIns="0" tIns="0" rIns="0" bIns="0" rtlCol="0">
            <a:noAutofit/>
          </a:bodyPr>
          <a:lstStyle/>
          <a:p>
            <a:pPr algn="ctr"/>
            <a:r>
              <a:rPr lang="de-DE" sz="3600" b="1" dirty="0">
                <a:latin typeface="Aptos" panose="020B0004020202020204" pitchFamily="34" charset="0"/>
              </a:rPr>
              <a:t>39.4 %</a:t>
            </a:r>
          </a:p>
        </p:txBody>
      </p:sp>
      <p:sp>
        <p:nvSpPr>
          <p:cNvPr id="8" name="Textfeld 7">
            <a:extLst>
              <a:ext uri="{FF2B5EF4-FFF2-40B4-BE49-F238E27FC236}">
                <a16:creationId xmlns:a16="http://schemas.microsoft.com/office/drawing/2014/main" id="{0C1316BD-1667-5990-9900-8979F64E2398}"/>
              </a:ext>
            </a:extLst>
          </p:cNvPr>
          <p:cNvSpPr txBox="1"/>
          <p:nvPr>
            <p:custDataLst>
              <p:tags r:id="rId3"/>
            </p:custDataLst>
          </p:nvPr>
        </p:nvSpPr>
        <p:spPr>
          <a:xfrm>
            <a:off x="2812143" y="4248319"/>
            <a:ext cx="903514" cy="313622"/>
          </a:xfrm>
          <a:prstGeom prst="rect">
            <a:avLst/>
          </a:prstGeom>
          <a:noFill/>
        </p:spPr>
        <p:txBody>
          <a:bodyPr wrap="square" lIns="0" tIns="0" rIns="0" bIns="0" rtlCol="0">
            <a:noAutofit/>
          </a:bodyPr>
          <a:lstStyle/>
          <a:p>
            <a:pPr algn="ctr"/>
            <a:r>
              <a:rPr lang="de-DE" b="1" dirty="0">
                <a:latin typeface="Aptos" panose="020B0004020202020204" pitchFamily="34" charset="0"/>
              </a:rPr>
              <a:t>11.9 %</a:t>
            </a:r>
          </a:p>
        </p:txBody>
      </p:sp>
      <p:sp>
        <p:nvSpPr>
          <p:cNvPr id="10" name="Textfeld 9">
            <a:extLst>
              <a:ext uri="{FF2B5EF4-FFF2-40B4-BE49-F238E27FC236}">
                <a16:creationId xmlns:a16="http://schemas.microsoft.com/office/drawing/2014/main" id="{9FDA86A5-4518-ECBE-3717-81200E412B6B}"/>
              </a:ext>
            </a:extLst>
          </p:cNvPr>
          <p:cNvSpPr txBox="1"/>
          <p:nvPr>
            <p:custDataLst>
              <p:tags r:id="rId4"/>
            </p:custDataLst>
          </p:nvPr>
        </p:nvSpPr>
        <p:spPr>
          <a:xfrm>
            <a:off x="1562058" y="5246853"/>
            <a:ext cx="1001326" cy="313622"/>
          </a:xfrm>
          <a:prstGeom prst="rect">
            <a:avLst/>
          </a:prstGeom>
          <a:noFill/>
        </p:spPr>
        <p:txBody>
          <a:bodyPr wrap="square" lIns="0" tIns="0" rIns="0" bIns="0" rtlCol="0">
            <a:noAutofit/>
          </a:bodyPr>
          <a:lstStyle/>
          <a:p>
            <a:pPr algn="ctr"/>
            <a:r>
              <a:rPr lang="de-DE" sz="2200" b="1" dirty="0">
                <a:latin typeface="Aptos" panose="020B0004020202020204" pitchFamily="34" charset="0"/>
              </a:rPr>
              <a:t>9.5 %</a:t>
            </a:r>
          </a:p>
        </p:txBody>
      </p:sp>
      <p:sp>
        <p:nvSpPr>
          <p:cNvPr id="11" name="Textfeld 10">
            <a:extLst>
              <a:ext uri="{FF2B5EF4-FFF2-40B4-BE49-F238E27FC236}">
                <a16:creationId xmlns:a16="http://schemas.microsoft.com/office/drawing/2014/main" id="{3C5B7387-33D5-B24A-5B77-58F6F1038133}"/>
              </a:ext>
            </a:extLst>
          </p:cNvPr>
          <p:cNvSpPr txBox="1"/>
          <p:nvPr>
            <p:custDataLst>
              <p:tags r:id="rId5"/>
            </p:custDataLst>
          </p:nvPr>
        </p:nvSpPr>
        <p:spPr>
          <a:xfrm>
            <a:off x="8417032" y="2473723"/>
            <a:ext cx="1169185" cy="313622"/>
          </a:xfrm>
          <a:prstGeom prst="rect">
            <a:avLst/>
          </a:prstGeom>
          <a:noFill/>
        </p:spPr>
        <p:txBody>
          <a:bodyPr wrap="square" lIns="0" tIns="0" rIns="0" bIns="0" rtlCol="0">
            <a:noAutofit/>
          </a:bodyPr>
          <a:lstStyle/>
          <a:p>
            <a:pPr algn="ctr"/>
            <a:r>
              <a:rPr lang="de-DE" sz="2800" b="1" dirty="0">
                <a:latin typeface="Aptos" panose="020B0004020202020204" pitchFamily="34" charset="0"/>
              </a:rPr>
              <a:t>18.6 %</a:t>
            </a:r>
          </a:p>
        </p:txBody>
      </p:sp>
      <p:sp>
        <p:nvSpPr>
          <p:cNvPr id="12" name="Textfeld 11">
            <a:extLst>
              <a:ext uri="{FF2B5EF4-FFF2-40B4-BE49-F238E27FC236}">
                <a16:creationId xmlns:a16="http://schemas.microsoft.com/office/drawing/2014/main" id="{A6F1B39D-AD6A-5EF2-A167-D64AB39FE5F2}"/>
              </a:ext>
            </a:extLst>
          </p:cNvPr>
          <p:cNvSpPr txBox="1"/>
          <p:nvPr>
            <p:custDataLst>
              <p:tags r:id="rId6"/>
            </p:custDataLst>
          </p:nvPr>
        </p:nvSpPr>
        <p:spPr>
          <a:xfrm>
            <a:off x="9696524" y="3761160"/>
            <a:ext cx="937364" cy="313622"/>
          </a:xfrm>
          <a:prstGeom prst="rect">
            <a:avLst/>
          </a:prstGeom>
          <a:noFill/>
        </p:spPr>
        <p:txBody>
          <a:bodyPr wrap="square" lIns="0" tIns="0" rIns="0" bIns="0" rtlCol="0">
            <a:noAutofit/>
          </a:bodyPr>
          <a:lstStyle/>
          <a:p>
            <a:pPr algn="ctr"/>
            <a:r>
              <a:rPr lang="de-DE" sz="2400" b="1" dirty="0">
                <a:latin typeface="Aptos" panose="020B0004020202020204" pitchFamily="34" charset="0"/>
              </a:rPr>
              <a:t>14.9 %</a:t>
            </a:r>
          </a:p>
        </p:txBody>
      </p:sp>
      <p:sp>
        <p:nvSpPr>
          <p:cNvPr id="13" name="Textfeld 12">
            <a:extLst>
              <a:ext uri="{FF2B5EF4-FFF2-40B4-BE49-F238E27FC236}">
                <a16:creationId xmlns:a16="http://schemas.microsoft.com/office/drawing/2014/main" id="{21614582-2AD8-FCDA-364B-2772FE731502}"/>
              </a:ext>
            </a:extLst>
          </p:cNvPr>
          <p:cNvSpPr txBox="1"/>
          <p:nvPr>
            <p:custDataLst>
              <p:tags r:id="rId7"/>
            </p:custDataLst>
          </p:nvPr>
        </p:nvSpPr>
        <p:spPr>
          <a:xfrm>
            <a:off x="8340074" y="4791385"/>
            <a:ext cx="806335" cy="313622"/>
          </a:xfrm>
          <a:prstGeom prst="rect">
            <a:avLst/>
          </a:prstGeom>
          <a:noFill/>
        </p:spPr>
        <p:txBody>
          <a:bodyPr wrap="square" lIns="0" tIns="0" rIns="0" bIns="0" rtlCol="0">
            <a:noAutofit/>
          </a:bodyPr>
          <a:lstStyle/>
          <a:p>
            <a:pPr algn="ctr"/>
            <a:r>
              <a:rPr lang="de-DE" sz="1700" b="1" dirty="0">
                <a:latin typeface="Aptos" panose="020B0004020202020204" pitchFamily="34" charset="0"/>
              </a:rPr>
              <a:t>4.5 %</a:t>
            </a:r>
          </a:p>
        </p:txBody>
      </p:sp>
      <p:sp>
        <p:nvSpPr>
          <p:cNvPr id="14" name="Textfeld 13">
            <a:extLst>
              <a:ext uri="{FF2B5EF4-FFF2-40B4-BE49-F238E27FC236}">
                <a16:creationId xmlns:a16="http://schemas.microsoft.com/office/drawing/2014/main" id="{BF8451E2-9EAE-923F-152A-B8E2EED88C27}"/>
              </a:ext>
            </a:extLst>
          </p:cNvPr>
          <p:cNvSpPr txBox="1"/>
          <p:nvPr>
            <p:custDataLst>
              <p:tags r:id="rId8"/>
            </p:custDataLst>
          </p:nvPr>
        </p:nvSpPr>
        <p:spPr>
          <a:xfrm>
            <a:off x="9821727" y="5545122"/>
            <a:ext cx="806335" cy="171363"/>
          </a:xfrm>
          <a:prstGeom prst="rect">
            <a:avLst/>
          </a:prstGeom>
          <a:noFill/>
        </p:spPr>
        <p:txBody>
          <a:bodyPr wrap="square" lIns="0" tIns="0" rIns="0" bIns="0" rtlCol="0">
            <a:noAutofit/>
          </a:bodyPr>
          <a:lstStyle/>
          <a:p>
            <a:pPr algn="ctr"/>
            <a:r>
              <a:rPr lang="de-DE" sz="1200" b="1" dirty="0">
                <a:latin typeface="Aptos" panose="020B0004020202020204" pitchFamily="34" charset="0"/>
              </a:rPr>
              <a:t>1.2 %</a:t>
            </a:r>
          </a:p>
        </p:txBody>
      </p:sp>
      <p:sp>
        <p:nvSpPr>
          <p:cNvPr id="15" name="Textfeld 14">
            <a:extLst>
              <a:ext uri="{FF2B5EF4-FFF2-40B4-BE49-F238E27FC236}">
                <a16:creationId xmlns:a16="http://schemas.microsoft.com/office/drawing/2014/main" id="{D87A5FCF-4536-E18A-B68C-245657AEC3D0}"/>
              </a:ext>
            </a:extLst>
          </p:cNvPr>
          <p:cNvSpPr txBox="1"/>
          <p:nvPr>
            <p:custDataLst>
              <p:tags r:id="rId9"/>
            </p:custDataLst>
          </p:nvPr>
        </p:nvSpPr>
        <p:spPr>
          <a:xfrm>
            <a:off x="1758148" y="3713970"/>
            <a:ext cx="1624327" cy="246528"/>
          </a:xfrm>
          <a:prstGeom prst="rect">
            <a:avLst/>
          </a:prstGeom>
          <a:noFill/>
        </p:spPr>
        <p:txBody>
          <a:bodyPr wrap="square" lIns="0" tIns="0" rIns="0" bIns="0" rtlCol="0">
            <a:noAutofit/>
          </a:bodyPr>
          <a:lstStyle/>
          <a:p>
            <a:pPr algn="ctr"/>
            <a:r>
              <a:rPr lang="de-DE" sz="1400" b="1">
                <a:latin typeface="Aptos" panose="020B0004020202020204" pitchFamily="34" charset="0"/>
              </a:rPr>
              <a:t>Insurance</a:t>
            </a:r>
          </a:p>
        </p:txBody>
      </p:sp>
      <p:sp>
        <p:nvSpPr>
          <p:cNvPr id="16" name="Textfeld 15">
            <a:extLst>
              <a:ext uri="{FF2B5EF4-FFF2-40B4-BE49-F238E27FC236}">
                <a16:creationId xmlns:a16="http://schemas.microsoft.com/office/drawing/2014/main" id="{2E23F1D8-89E6-530F-AFFA-7F5F806F9F68}"/>
              </a:ext>
            </a:extLst>
          </p:cNvPr>
          <p:cNvSpPr txBox="1"/>
          <p:nvPr>
            <p:custDataLst>
              <p:tags r:id="rId10"/>
            </p:custDataLst>
          </p:nvPr>
        </p:nvSpPr>
        <p:spPr>
          <a:xfrm>
            <a:off x="2498838" y="4861490"/>
            <a:ext cx="1624327" cy="246528"/>
          </a:xfrm>
          <a:prstGeom prst="rect">
            <a:avLst/>
          </a:prstGeom>
          <a:noFill/>
        </p:spPr>
        <p:txBody>
          <a:bodyPr wrap="square" lIns="0" tIns="0" rIns="0" bIns="0" rtlCol="0">
            <a:noAutofit/>
          </a:bodyPr>
          <a:lstStyle/>
          <a:p>
            <a:pPr algn="ctr">
              <a:lnSpc>
                <a:spcPts val="1600"/>
              </a:lnSpc>
            </a:pPr>
            <a:r>
              <a:rPr lang="de-DE" sz="1400" b="1" dirty="0">
                <a:latin typeface="Aptos" panose="020B0004020202020204" pitchFamily="34" charset="0"/>
              </a:rPr>
              <a:t>Industry</a:t>
            </a:r>
            <a:br>
              <a:rPr lang="de-DE" sz="1400" b="1" dirty="0">
                <a:latin typeface="Aptos" panose="020B0004020202020204" pitchFamily="34" charset="0"/>
              </a:rPr>
            </a:br>
            <a:r>
              <a:rPr lang="de-DE" sz="1400" b="1" dirty="0">
                <a:latin typeface="Aptos" panose="020B0004020202020204" pitchFamily="34" charset="0"/>
              </a:rPr>
              <a:t>Segment</a:t>
            </a:r>
          </a:p>
        </p:txBody>
      </p:sp>
      <p:sp>
        <p:nvSpPr>
          <p:cNvPr id="17" name="Textfeld 16">
            <a:extLst>
              <a:ext uri="{FF2B5EF4-FFF2-40B4-BE49-F238E27FC236}">
                <a16:creationId xmlns:a16="http://schemas.microsoft.com/office/drawing/2014/main" id="{595BEACB-83D1-5C66-3C12-50CE4C6556C1}"/>
              </a:ext>
            </a:extLst>
          </p:cNvPr>
          <p:cNvSpPr txBox="1"/>
          <p:nvPr>
            <p:custDataLst>
              <p:tags r:id="rId11"/>
            </p:custDataLst>
          </p:nvPr>
        </p:nvSpPr>
        <p:spPr>
          <a:xfrm>
            <a:off x="1271906" y="5940964"/>
            <a:ext cx="1624327" cy="246528"/>
          </a:xfrm>
          <a:prstGeom prst="rect">
            <a:avLst/>
          </a:prstGeom>
          <a:noFill/>
        </p:spPr>
        <p:txBody>
          <a:bodyPr wrap="square" lIns="0" tIns="0" rIns="0" bIns="0" rtlCol="0">
            <a:noAutofit/>
          </a:bodyPr>
          <a:lstStyle/>
          <a:p>
            <a:pPr algn="ctr"/>
            <a:r>
              <a:rPr lang="de-DE" sz="1400" b="1">
                <a:latin typeface="Aptos" panose="020B0004020202020204" pitchFamily="34" charset="0"/>
              </a:rPr>
              <a:t>Public Sector</a:t>
            </a:r>
          </a:p>
        </p:txBody>
      </p:sp>
      <p:sp>
        <p:nvSpPr>
          <p:cNvPr id="18" name="Textfeld 17">
            <a:extLst>
              <a:ext uri="{FF2B5EF4-FFF2-40B4-BE49-F238E27FC236}">
                <a16:creationId xmlns:a16="http://schemas.microsoft.com/office/drawing/2014/main" id="{3CED9B68-820A-D9BD-F566-6495385EB65B}"/>
              </a:ext>
            </a:extLst>
          </p:cNvPr>
          <p:cNvSpPr txBox="1"/>
          <p:nvPr>
            <p:custDataLst>
              <p:tags r:id="rId12"/>
            </p:custDataLst>
          </p:nvPr>
        </p:nvSpPr>
        <p:spPr>
          <a:xfrm>
            <a:off x="8189460" y="3446690"/>
            <a:ext cx="1624327" cy="246528"/>
          </a:xfrm>
          <a:prstGeom prst="rect">
            <a:avLst/>
          </a:prstGeom>
          <a:noFill/>
        </p:spPr>
        <p:txBody>
          <a:bodyPr wrap="square" lIns="0" tIns="0" rIns="0" bIns="0" rtlCol="0">
            <a:noAutofit/>
          </a:bodyPr>
          <a:lstStyle/>
          <a:p>
            <a:pPr algn="ctr"/>
            <a:r>
              <a:rPr lang="de-DE" sz="1400" b="1">
                <a:latin typeface="Aptos" panose="020B0004020202020204" pitchFamily="34" charset="0"/>
              </a:rPr>
              <a:t>Banking</a:t>
            </a:r>
          </a:p>
        </p:txBody>
      </p:sp>
      <p:sp>
        <p:nvSpPr>
          <p:cNvPr id="19" name="Textfeld 18">
            <a:extLst>
              <a:ext uri="{FF2B5EF4-FFF2-40B4-BE49-F238E27FC236}">
                <a16:creationId xmlns:a16="http://schemas.microsoft.com/office/drawing/2014/main" id="{18AE1C9D-2F7A-27CE-C8A1-13B3A6CDA0CD}"/>
              </a:ext>
            </a:extLst>
          </p:cNvPr>
          <p:cNvSpPr txBox="1"/>
          <p:nvPr>
            <p:custDataLst>
              <p:tags r:id="rId13"/>
            </p:custDataLst>
          </p:nvPr>
        </p:nvSpPr>
        <p:spPr>
          <a:xfrm>
            <a:off x="9339595" y="4568998"/>
            <a:ext cx="1624327" cy="439508"/>
          </a:xfrm>
          <a:prstGeom prst="rect">
            <a:avLst/>
          </a:prstGeom>
          <a:noFill/>
        </p:spPr>
        <p:txBody>
          <a:bodyPr wrap="square" lIns="0" tIns="0" rIns="0" bIns="0" rtlCol="0">
            <a:noAutofit/>
          </a:bodyPr>
          <a:lstStyle/>
          <a:p>
            <a:pPr algn="ctr">
              <a:lnSpc>
                <a:spcPts val="1600"/>
              </a:lnSpc>
            </a:pPr>
            <a:r>
              <a:rPr lang="de-DE" sz="1400" b="1" err="1">
                <a:latin typeface="Aptos" panose="020B0004020202020204" pitchFamily="34" charset="0"/>
              </a:rPr>
              <a:t>Horizontals</a:t>
            </a:r>
            <a:r>
              <a:rPr lang="de-DE" sz="1400" b="1">
                <a:latin typeface="Aptos" panose="020B0004020202020204" pitchFamily="34" charset="0"/>
              </a:rPr>
              <a:t>/</a:t>
            </a:r>
            <a:br>
              <a:rPr lang="de-DE" sz="1400" b="1">
                <a:latin typeface="Aptos" panose="020B0004020202020204" pitchFamily="34" charset="0"/>
              </a:rPr>
            </a:br>
            <a:r>
              <a:rPr lang="de-DE" sz="1400" b="1">
                <a:latin typeface="Aptos" panose="020B0004020202020204" pitchFamily="34" charset="0"/>
              </a:rPr>
              <a:t>Other</a:t>
            </a:r>
          </a:p>
        </p:txBody>
      </p:sp>
      <p:sp>
        <p:nvSpPr>
          <p:cNvPr id="20" name="Textfeld 19">
            <a:extLst>
              <a:ext uri="{FF2B5EF4-FFF2-40B4-BE49-F238E27FC236}">
                <a16:creationId xmlns:a16="http://schemas.microsoft.com/office/drawing/2014/main" id="{66FBD03E-779C-771D-ABF0-8DE1E72DC943}"/>
              </a:ext>
            </a:extLst>
          </p:cNvPr>
          <p:cNvSpPr txBox="1"/>
          <p:nvPr/>
        </p:nvSpPr>
        <p:spPr>
          <a:xfrm>
            <a:off x="9412731" y="5919409"/>
            <a:ext cx="1624327" cy="246528"/>
          </a:xfrm>
          <a:prstGeom prst="rect">
            <a:avLst/>
          </a:prstGeom>
          <a:noFill/>
        </p:spPr>
        <p:txBody>
          <a:bodyPr wrap="square" lIns="0" tIns="0" rIns="0" bIns="0" rtlCol="0">
            <a:noAutofit/>
          </a:bodyPr>
          <a:lstStyle/>
          <a:p>
            <a:pPr algn="ctr"/>
            <a:r>
              <a:rPr lang="de-DE" sz="1400" b="1" dirty="0" err="1">
                <a:latin typeface="Aptos" panose="020B0004020202020204" pitchFamily="34" charset="0"/>
              </a:rPr>
              <a:t>Healthcare</a:t>
            </a:r>
            <a:endParaRPr lang="de-DE" sz="1400" b="1" dirty="0">
              <a:latin typeface="Aptos" panose="020B0004020202020204" pitchFamily="34" charset="0"/>
            </a:endParaRPr>
          </a:p>
        </p:txBody>
      </p:sp>
      <p:sp>
        <p:nvSpPr>
          <p:cNvPr id="21" name="Textfeld 20">
            <a:extLst>
              <a:ext uri="{FF2B5EF4-FFF2-40B4-BE49-F238E27FC236}">
                <a16:creationId xmlns:a16="http://schemas.microsoft.com/office/drawing/2014/main" id="{62016788-1BB4-9C65-A4CA-40AE8B8F4F7C}"/>
              </a:ext>
            </a:extLst>
          </p:cNvPr>
          <p:cNvSpPr txBox="1"/>
          <p:nvPr>
            <p:custDataLst>
              <p:tags r:id="rId14"/>
            </p:custDataLst>
          </p:nvPr>
        </p:nvSpPr>
        <p:spPr>
          <a:xfrm>
            <a:off x="4287712" y="2919015"/>
            <a:ext cx="3520351" cy="803160"/>
          </a:xfrm>
          <a:prstGeom prst="rect">
            <a:avLst/>
          </a:prstGeom>
          <a:noFill/>
        </p:spPr>
        <p:txBody>
          <a:bodyPr wrap="square" lIns="0" tIns="0" rIns="0" bIns="0" rtlCol="0">
            <a:noAutofit/>
          </a:bodyPr>
          <a:lstStyle/>
          <a:p>
            <a:pPr algn="r"/>
            <a:r>
              <a:rPr lang="de-DE" sz="4400" b="1" dirty="0">
                <a:solidFill>
                  <a:schemeClr val="accent1"/>
                </a:solidFill>
                <a:latin typeface="Aptos" panose="020B0004020202020204" pitchFamily="34" charset="0"/>
              </a:rPr>
              <a:t>1.5 </a:t>
            </a:r>
            <a:r>
              <a:rPr lang="de-DE" sz="4400" b="1" dirty="0" err="1">
                <a:solidFill>
                  <a:schemeClr val="accent1"/>
                </a:solidFill>
                <a:latin typeface="Aptos" panose="020B0004020202020204" pitchFamily="34" charset="0"/>
              </a:rPr>
              <a:t>bn</a:t>
            </a:r>
            <a:r>
              <a:rPr lang="de-DE" sz="4400" b="1" dirty="0">
                <a:solidFill>
                  <a:schemeClr val="accent1"/>
                </a:solidFill>
                <a:latin typeface="Aptos" panose="020B0004020202020204" pitchFamily="34" charset="0"/>
              </a:rPr>
              <a:t> </a:t>
            </a:r>
            <a:r>
              <a:rPr lang="de-DE" sz="4400" b="1" dirty="0" err="1">
                <a:solidFill>
                  <a:schemeClr val="accent1"/>
                </a:solidFill>
                <a:latin typeface="Aptos" panose="020B0004020202020204" pitchFamily="34" charset="0"/>
              </a:rPr>
              <a:t>euro</a:t>
            </a:r>
            <a:endParaRPr lang="de-DE" sz="4400" b="1" dirty="0">
              <a:solidFill>
                <a:schemeClr val="accent1"/>
              </a:solidFill>
              <a:latin typeface="Aptos" panose="020B00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de-DE" sz="1200" dirty="0">
                <a:solidFill>
                  <a:prstClr val="black"/>
                </a:solidFill>
              </a:rPr>
              <a:t>s</a:t>
            </a:r>
            <a:r>
              <a:rPr kumimoji="0" lang="de-DE" sz="1200" b="0" i="0" u="none" strike="noStrike" kern="1200" cap="none" spc="0" normalizeH="0" baseline="0" noProof="0" dirty="0" err="1">
                <a:ln>
                  <a:noFill/>
                </a:ln>
                <a:solidFill>
                  <a:prstClr val="black"/>
                </a:solidFill>
                <a:effectLst/>
                <a:uLnTx/>
                <a:uFillTx/>
                <a:ea typeface="+mn-ea"/>
                <a:cs typeface="+mn-cs"/>
              </a:rPr>
              <a:t>ales</a:t>
            </a:r>
            <a:r>
              <a:rPr kumimoji="0" lang="de-DE" sz="1200" b="0" i="0" u="none" strike="noStrike" kern="1200" cap="none" spc="0" normalizeH="0" baseline="0" noProof="0" dirty="0">
                <a:ln>
                  <a:noFill/>
                </a:ln>
                <a:solidFill>
                  <a:prstClr val="black"/>
                </a:solidFill>
                <a:effectLst/>
                <a:uLnTx/>
                <a:uFillTx/>
                <a:ea typeface="+mn-ea"/>
                <a:cs typeface="+mn-cs"/>
              </a:rPr>
              <a:t> in 2025 (</a:t>
            </a:r>
            <a:r>
              <a:rPr kumimoji="0" lang="de-DE" sz="1200" b="0" i="0" u="none" strike="noStrike" kern="1200" cap="none" spc="0" normalizeH="0" baseline="0" noProof="0" dirty="0" err="1">
                <a:ln>
                  <a:noFill/>
                </a:ln>
                <a:solidFill>
                  <a:prstClr val="black"/>
                </a:solidFill>
                <a:effectLst/>
                <a:uLnTx/>
                <a:uFillTx/>
                <a:ea typeface="+mn-ea"/>
                <a:cs typeface="+mn-cs"/>
              </a:rPr>
              <a:t>preliminary</a:t>
            </a:r>
            <a:r>
              <a:rPr kumimoji="0" lang="de-DE" sz="1200" b="0" i="0" u="none" strike="noStrike" kern="1200" cap="none" spc="0" normalizeH="0" baseline="0" noProof="0" dirty="0">
                <a:ln>
                  <a:noFill/>
                </a:ln>
                <a:solidFill>
                  <a:prstClr val="black"/>
                </a:solidFill>
                <a:effectLst/>
                <a:uLnTx/>
                <a:uFillTx/>
                <a:ea typeface="+mn-ea"/>
                <a:cs typeface="+mn-cs"/>
              </a:rPr>
              <a:t>)</a:t>
            </a:r>
          </a:p>
          <a:p>
            <a:pPr algn="r"/>
            <a:endParaRPr lang="de-DE" sz="4400" b="1" dirty="0">
              <a:blipFill dpi="0" rotWithShape="1">
                <a:blip r:embed="rId23"/>
                <a:srcRect/>
                <a:tile tx="0" ty="1905000" sx="100000" sy="100000" flip="y" algn="ctr"/>
              </a:blipFill>
              <a:latin typeface="Aptos" panose="020B0004020202020204" pitchFamily="34" charset="0"/>
            </a:endParaRPr>
          </a:p>
        </p:txBody>
      </p:sp>
      <p:sp>
        <p:nvSpPr>
          <p:cNvPr id="22" name="Textfeld 21">
            <a:extLst>
              <a:ext uri="{FF2B5EF4-FFF2-40B4-BE49-F238E27FC236}">
                <a16:creationId xmlns:a16="http://schemas.microsoft.com/office/drawing/2014/main" id="{CC46665B-32ED-8EB0-1BCC-BFC8ECB337FB}"/>
              </a:ext>
            </a:extLst>
          </p:cNvPr>
          <p:cNvSpPr txBox="1"/>
          <p:nvPr>
            <p:custDataLst>
              <p:tags r:id="rId15"/>
            </p:custDataLst>
          </p:nvPr>
        </p:nvSpPr>
        <p:spPr>
          <a:xfrm>
            <a:off x="4929810" y="4520757"/>
            <a:ext cx="676450" cy="439508"/>
          </a:xfrm>
          <a:prstGeom prst="rect">
            <a:avLst/>
          </a:prstGeom>
          <a:noFill/>
        </p:spPr>
        <p:txBody>
          <a:bodyPr wrap="square" lIns="0" tIns="0" rIns="0" bIns="0" rtlCol="0">
            <a:noAutofit/>
          </a:bodyPr>
          <a:lstStyle/>
          <a:p>
            <a:pPr algn="ctr"/>
            <a:r>
              <a:rPr lang="de-DE" sz="3000" b="1">
                <a:latin typeface="Aptos" panose="020B0004020202020204" pitchFamily="34" charset="0"/>
              </a:rPr>
              <a:t>34</a:t>
            </a:r>
          </a:p>
          <a:p>
            <a:pPr marL="0" marR="0" lvl="0" indent="0" algn="ctr" defTabSz="914400" rtl="0" eaLnBrk="1" fontAlgn="auto" latinLnBrk="0" hangingPunct="1">
              <a:buClrTx/>
              <a:buSzTx/>
              <a:buFontTx/>
              <a:buNone/>
              <a:tabLst/>
              <a:defRPr/>
            </a:pPr>
            <a:r>
              <a:rPr lang="de-DE" sz="1200">
                <a:solidFill>
                  <a:prstClr val="black"/>
                </a:solidFill>
              </a:rPr>
              <a:t>countries</a:t>
            </a:r>
            <a:endParaRPr lang="de-DE" sz="3000" b="1"/>
          </a:p>
          <a:p>
            <a:pPr algn="ctr"/>
            <a:endParaRPr lang="de-DE" sz="3000" b="1">
              <a:latin typeface="Aptos" panose="020B0004020202020204" pitchFamily="34" charset="0"/>
            </a:endParaRPr>
          </a:p>
          <a:p>
            <a:pPr algn="ctr"/>
            <a:endParaRPr lang="de-DE" sz="3000" b="1">
              <a:latin typeface="Aptos" panose="020B0004020202020204" pitchFamily="34" charset="0"/>
            </a:endParaRPr>
          </a:p>
        </p:txBody>
      </p:sp>
      <p:sp>
        <p:nvSpPr>
          <p:cNvPr id="23" name="Textfeld 22">
            <a:extLst>
              <a:ext uri="{FF2B5EF4-FFF2-40B4-BE49-F238E27FC236}">
                <a16:creationId xmlns:a16="http://schemas.microsoft.com/office/drawing/2014/main" id="{74846B4A-26FF-CE6E-CE3B-C707FD4BF4EB}"/>
              </a:ext>
            </a:extLst>
          </p:cNvPr>
          <p:cNvSpPr txBox="1"/>
          <p:nvPr>
            <p:custDataLst>
              <p:tags r:id="rId16"/>
            </p:custDataLst>
          </p:nvPr>
        </p:nvSpPr>
        <p:spPr>
          <a:xfrm>
            <a:off x="6125804" y="4520757"/>
            <a:ext cx="1420325" cy="439508"/>
          </a:xfrm>
          <a:prstGeom prst="rect">
            <a:avLst/>
          </a:prstGeom>
          <a:noFill/>
        </p:spPr>
        <p:txBody>
          <a:bodyPr wrap="square" lIns="0" tIns="0" rIns="0" bIns="0" rtlCol="0">
            <a:noAutofit/>
          </a:bodyPr>
          <a:lstStyle/>
          <a:p>
            <a:pPr algn="ctr"/>
            <a:r>
              <a:rPr lang="de-DE" sz="3000" b="1">
                <a:latin typeface="Aptos" panose="020B0004020202020204" pitchFamily="34" charset="0"/>
              </a:rPr>
              <a:t>&gt; 10,000</a:t>
            </a:r>
          </a:p>
          <a:p>
            <a:pPr marL="0" marR="0" lvl="0" indent="0" algn="ctr" defTabSz="914400" rtl="0" eaLnBrk="1" fontAlgn="auto" latinLnBrk="0" hangingPunct="1">
              <a:buClrTx/>
              <a:buSzTx/>
              <a:buFontTx/>
              <a:buNone/>
              <a:tabLst/>
              <a:defRPr/>
            </a:pPr>
            <a:r>
              <a:rPr lang="de-DE" sz="1200">
                <a:solidFill>
                  <a:prstClr val="black"/>
                </a:solidFill>
              </a:rPr>
              <a:t>e</a:t>
            </a:r>
            <a:r>
              <a:rPr kumimoji="0" lang="de-DE" sz="1200" b="0" i="0" u="none" strike="noStrike" kern="1200" cap="none" spc="0" normalizeH="0" baseline="0" noProof="0" err="1">
                <a:ln>
                  <a:noFill/>
                </a:ln>
                <a:solidFill>
                  <a:prstClr val="black"/>
                </a:solidFill>
                <a:effectLst/>
                <a:uLnTx/>
                <a:uFillTx/>
                <a:ea typeface="+mn-ea"/>
                <a:cs typeface="+mn-cs"/>
              </a:rPr>
              <a:t>mployees</a:t>
            </a:r>
            <a:endParaRPr kumimoji="0" lang="de-DE" sz="1200" b="0" i="0" u="none" strike="noStrike" kern="1200" cap="none" spc="0" normalizeH="0" baseline="0" noProof="0">
              <a:ln>
                <a:noFill/>
              </a:ln>
              <a:solidFill>
                <a:prstClr val="black"/>
              </a:solidFill>
              <a:effectLst/>
              <a:uLnTx/>
              <a:uFillTx/>
              <a:ea typeface="+mn-ea"/>
              <a:cs typeface="+mn-cs"/>
            </a:endParaRPr>
          </a:p>
        </p:txBody>
      </p:sp>
      <p:sp>
        <p:nvSpPr>
          <p:cNvPr id="24" name="Textfeld 23">
            <a:extLst>
              <a:ext uri="{FF2B5EF4-FFF2-40B4-BE49-F238E27FC236}">
                <a16:creationId xmlns:a16="http://schemas.microsoft.com/office/drawing/2014/main" id="{DD64A98A-8A7E-5309-2390-7C1CB00379EA}"/>
              </a:ext>
            </a:extLst>
          </p:cNvPr>
          <p:cNvSpPr txBox="1"/>
          <p:nvPr>
            <p:custDataLst>
              <p:tags r:id="rId17"/>
            </p:custDataLst>
          </p:nvPr>
        </p:nvSpPr>
        <p:spPr>
          <a:xfrm>
            <a:off x="7943778" y="5248885"/>
            <a:ext cx="1624327" cy="246528"/>
          </a:xfrm>
          <a:prstGeom prst="rect">
            <a:avLst/>
          </a:prstGeom>
          <a:noFill/>
        </p:spPr>
        <p:txBody>
          <a:bodyPr wrap="square" lIns="0" tIns="0" rIns="0" bIns="0" rtlCol="0">
            <a:noAutofit/>
          </a:bodyPr>
          <a:lstStyle/>
          <a:p>
            <a:pPr algn="ctr">
              <a:lnSpc>
                <a:spcPts val="1600"/>
              </a:lnSpc>
            </a:pPr>
            <a:r>
              <a:rPr lang="de-DE" sz="1400" b="1">
                <a:latin typeface="Aptos" panose="020B0004020202020204" pitchFamily="34" charset="0"/>
              </a:rPr>
              <a:t>Automotive &amp;</a:t>
            </a:r>
            <a:br>
              <a:rPr lang="de-DE" sz="1400" b="1">
                <a:latin typeface="Aptos" panose="020B0004020202020204" pitchFamily="34" charset="0"/>
              </a:rPr>
            </a:br>
            <a:r>
              <a:rPr lang="de-DE" sz="1400" b="1">
                <a:latin typeface="Aptos" panose="020B0004020202020204" pitchFamily="34" charset="0"/>
              </a:rPr>
              <a:t>Manufacturing</a:t>
            </a:r>
          </a:p>
        </p:txBody>
      </p:sp>
      <p:pic>
        <p:nvPicPr>
          <p:cNvPr id="25" name="Grafik 24">
            <a:extLst>
              <a:ext uri="{FF2B5EF4-FFF2-40B4-BE49-F238E27FC236}">
                <a16:creationId xmlns:a16="http://schemas.microsoft.com/office/drawing/2014/main" id="{36094F9B-995D-D953-CF6A-E1A86F2C0251}"/>
              </a:ext>
            </a:extLst>
          </p:cNvPr>
          <p:cNvPicPr>
            <a:picLocks noChangeAspect="1"/>
          </p:cNvPicPr>
          <p:nvPr/>
        </p:nvPicPr>
        <p:blipFill>
          <a:blip r:embed="rId24"/>
          <a:stretch>
            <a:fillRect/>
          </a:stretch>
        </p:blipFill>
        <p:spPr>
          <a:xfrm>
            <a:off x="6532937" y="4068058"/>
            <a:ext cx="606059" cy="413222"/>
          </a:xfrm>
          <a:prstGeom prst="rect">
            <a:avLst/>
          </a:prstGeom>
        </p:spPr>
      </p:pic>
      <p:pic>
        <p:nvPicPr>
          <p:cNvPr id="26" name="Grafik 25">
            <a:extLst>
              <a:ext uri="{FF2B5EF4-FFF2-40B4-BE49-F238E27FC236}">
                <a16:creationId xmlns:a16="http://schemas.microsoft.com/office/drawing/2014/main" id="{305DD3CE-B09F-52CA-D239-F1D2F5C38A59}"/>
              </a:ext>
            </a:extLst>
          </p:cNvPr>
          <p:cNvPicPr>
            <a:picLocks noChangeAspect="1"/>
          </p:cNvPicPr>
          <p:nvPr/>
        </p:nvPicPr>
        <p:blipFill>
          <a:blip r:embed="rId25"/>
          <a:stretch>
            <a:fillRect/>
          </a:stretch>
        </p:blipFill>
        <p:spPr>
          <a:xfrm>
            <a:off x="5068854" y="4087957"/>
            <a:ext cx="398363" cy="398365"/>
          </a:xfrm>
          <a:prstGeom prst="rect">
            <a:avLst/>
          </a:prstGeom>
        </p:spPr>
      </p:pic>
    </p:spTree>
    <p:extLst>
      <p:ext uri="{BB962C8B-B14F-4D97-AF65-F5344CB8AC3E}">
        <p14:creationId xmlns:p14="http://schemas.microsoft.com/office/powerpoint/2010/main" val="377484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C8E2F6-2D0F-19E5-5276-2B1CAD630280}"/>
            </a:ext>
          </a:extLst>
        </p:cNvPr>
        <p:cNvGrpSpPr/>
        <p:nvPr/>
      </p:nvGrpSpPr>
      <p:grpSpPr>
        <a:xfrm>
          <a:off x="0" y="0"/>
          <a:ext cx="0" cy="0"/>
          <a:chOff x="0" y="0"/>
          <a:chExt cx="0" cy="0"/>
        </a:xfrm>
      </p:grpSpPr>
      <p:sp>
        <p:nvSpPr>
          <p:cNvPr id="4" name="Rechteck 3">
            <a:extLst>
              <a:ext uri="{FF2B5EF4-FFF2-40B4-BE49-F238E27FC236}">
                <a16:creationId xmlns:a16="http://schemas.microsoft.com/office/drawing/2014/main" id="{214369EB-2956-30B9-3BA1-B75E6E4B4219}"/>
              </a:ext>
            </a:extLst>
          </p:cNvPr>
          <p:cNvSpPr/>
          <p:nvPr>
            <p:custDataLst>
              <p:tags r:id="rId1"/>
            </p:custDataLst>
          </p:nvPr>
        </p:nvSpPr>
        <p:spPr>
          <a:xfrm>
            <a:off x="2579914" y="1786015"/>
            <a:ext cx="9277124" cy="25211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14" name="Rechteck 13">
            <a:extLst>
              <a:ext uri="{FF2B5EF4-FFF2-40B4-BE49-F238E27FC236}">
                <a16:creationId xmlns:a16="http://schemas.microsoft.com/office/drawing/2014/main" id="{05756AB1-BD9A-9530-2131-65613FFF1B68}"/>
              </a:ext>
            </a:extLst>
          </p:cNvPr>
          <p:cNvSpPr/>
          <p:nvPr/>
        </p:nvSpPr>
        <p:spPr>
          <a:xfrm>
            <a:off x="2579914" y="4438817"/>
            <a:ext cx="9277124" cy="1662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9" name="think-cell data - do not delete" hidden="1">
            <a:extLst>
              <a:ext uri="{FF2B5EF4-FFF2-40B4-BE49-F238E27FC236}">
                <a16:creationId xmlns:a16="http://schemas.microsoft.com/office/drawing/2014/main" id="{91EE8E26-9347-15F9-3953-67CA3F2F97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06" imgH="306" progId="TCLayout.ActiveDocument.1">
                  <p:embed/>
                </p:oleObj>
              </mc:Choice>
              <mc:Fallback>
                <p:oleObj name="think-cell Folie" r:id="rId10" imgW="306" imgH="306" progId="TCLayout.ActiveDocument.1">
                  <p:embed/>
                  <p:pic>
                    <p:nvPicPr>
                      <p:cNvPr id="9" name="think-cell data - do not delete" hidden="1">
                        <a:extLst>
                          <a:ext uri="{FF2B5EF4-FFF2-40B4-BE49-F238E27FC236}">
                            <a16:creationId xmlns:a16="http://schemas.microsoft.com/office/drawing/2014/main" id="{91EE8E26-9347-15F9-3953-67CA3F2F97D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7" name="Textplatzhalter 16">
            <a:extLst>
              <a:ext uri="{FF2B5EF4-FFF2-40B4-BE49-F238E27FC236}">
                <a16:creationId xmlns:a16="http://schemas.microsoft.com/office/drawing/2014/main" id="{6CFC7EF9-5155-BF0F-D4F2-CBFC5D118E71}"/>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16" name="Titel 15">
            <a:extLst>
              <a:ext uri="{FF2B5EF4-FFF2-40B4-BE49-F238E27FC236}">
                <a16:creationId xmlns:a16="http://schemas.microsoft.com/office/drawing/2014/main" id="{EF240F0E-10F7-0390-AA62-57B107C53DE6}"/>
              </a:ext>
            </a:extLst>
          </p:cNvPr>
          <p:cNvSpPr>
            <a:spLocks noGrp="1"/>
          </p:cNvSpPr>
          <p:nvPr>
            <p:ph type="title"/>
          </p:nvPr>
        </p:nvSpPr>
        <p:spPr>
          <a:xfrm>
            <a:off x="623888" y="652342"/>
            <a:ext cx="9488833" cy="738664"/>
          </a:xfrm>
        </p:spPr>
        <p:txBody>
          <a:bodyPr/>
          <a:lstStyle/>
          <a:p>
            <a:r>
              <a:rPr lang="en-US" dirty="0"/>
              <a:t>From start-up to the </a:t>
            </a:r>
            <a:r>
              <a:rPr lang="en-US" b="1" dirty="0"/>
              <a:t>largest independent owner-managed consulting and IT company in Europe </a:t>
            </a:r>
            <a:r>
              <a:rPr lang="en-US" dirty="0"/>
              <a:t>with innovative business models</a:t>
            </a:r>
          </a:p>
        </p:txBody>
      </p:sp>
      <p:sp>
        <p:nvSpPr>
          <p:cNvPr id="3" name="Fußzeilenplatzhalter 1">
            <a:extLst>
              <a:ext uri="{FF2B5EF4-FFF2-40B4-BE49-F238E27FC236}">
                <a16:creationId xmlns:a16="http://schemas.microsoft.com/office/drawing/2014/main" id="{7F6E0E02-5FEB-8174-2D16-4720AB4AF5DA}"/>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3A37BB65-1077-7F51-88CB-4AF92E72047A}"/>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3</a:t>
            </a:fld>
            <a:endParaRPr lang="de-DE"/>
          </a:p>
        </p:txBody>
      </p:sp>
      <p:sp>
        <p:nvSpPr>
          <p:cNvPr id="5" name="Textplatzhalter 14">
            <a:extLst>
              <a:ext uri="{FF2B5EF4-FFF2-40B4-BE49-F238E27FC236}">
                <a16:creationId xmlns:a16="http://schemas.microsoft.com/office/drawing/2014/main" id="{70BAA55D-7CB8-DC4B-E0CC-0A78AF471E39}"/>
              </a:ext>
            </a:extLst>
          </p:cNvPr>
          <p:cNvSpPr txBox="1">
            <a:spLocks/>
          </p:cNvSpPr>
          <p:nvPr>
            <p:custDataLst>
              <p:tags r:id="rId3"/>
            </p:custDataLst>
          </p:nvPr>
        </p:nvSpPr>
        <p:spPr>
          <a:xfrm>
            <a:off x="630017" y="2233486"/>
            <a:ext cx="1339587" cy="49141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200" dirty="0">
                <a:latin typeface="+mj-lt"/>
                <a:cs typeface="Calibri"/>
              </a:rPr>
              <a:t>in m/</a:t>
            </a:r>
            <a:r>
              <a:rPr lang="de-DE" sz="1200" dirty="0" err="1">
                <a:latin typeface="+mj-lt"/>
                <a:cs typeface="Calibri"/>
              </a:rPr>
              <a:t>bn</a:t>
            </a:r>
            <a:r>
              <a:rPr lang="de-DE" sz="1200" dirty="0">
                <a:latin typeface="+mj-lt"/>
                <a:cs typeface="Calibri"/>
              </a:rPr>
              <a:t> €</a:t>
            </a:r>
          </a:p>
          <a:p>
            <a:pPr>
              <a:lnSpc>
                <a:spcPts val="1960"/>
              </a:lnSpc>
            </a:pPr>
            <a:endParaRPr lang="de-DE" sz="1200" dirty="0">
              <a:latin typeface="Aptos Light" panose="020B0004020202020204" pitchFamily="34" charset="0"/>
              <a:cs typeface="Calibri"/>
            </a:endParaRPr>
          </a:p>
        </p:txBody>
      </p:sp>
      <p:sp>
        <p:nvSpPr>
          <p:cNvPr id="6" name="Textplatzhalter 14">
            <a:extLst>
              <a:ext uri="{FF2B5EF4-FFF2-40B4-BE49-F238E27FC236}">
                <a16:creationId xmlns:a16="http://schemas.microsoft.com/office/drawing/2014/main" id="{90DC23F7-F0CD-950B-EBF2-F47C84FBCE03}"/>
              </a:ext>
            </a:extLst>
          </p:cNvPr>
          <p:cNvSpPr txBox="1">
            <a:spLocks/>
          </p:cNvSpPr>
          <p:nvPr>
            <p:custDataLst>
              <p:tags r:id="rId4"/>
            </p:custDataLst>
          </p:nvPr>
        </p:nvSpPr>
        <p:spPr>
          <a:xfrm>
            <a:off x="630017" y="1787466"/>
            <a:ext cx="2419158"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760"/>
              </a:lnSpc>
            </a:pPr>
            <a:r>
              <a:rPr lang="de-DE" sz="1600" b="1" dirty="0">
                <a:cs typeface="Calibri"/>
              </a:rPr>
              <a:t>Sales </a:t>
            </a:r>
            <a:br>
              <a:rPr lang="de-DE" sz="1600" b="1" dirty="0">
                <a:cs typeface="Calibri"/>
              </a:rPr>
            </a:br>
            <a:r>
              <a:rPr lang="de-DE" sz="1600" b="1" dirty="0">
                <a:cs typeface="Calibri"/>
              </a:rPr>
              <a:t>Growth </a:t>
            </a:r>
          </a:p>
        </p:txBody>
      </p:sp>
      <p:sp>
        <p:nvSpPr>
          <p:cNvPr id="7" name="Textplatzhalter 14">
            <a:extLst>
              <a:ext uri="{FF2B5EF4-FFF2-40B4-BE49-F238E27FC236}">
                <a16:creationId xmlns:a16="http://schemas.microsoft.com/office/drawing/2014/main" id="{3ABB3401-EA56-E985-0109-C6D3F48AEDAE}"/>
              </a:ext>
            </a:extLst>
          </p:cNvPr>
          <p:cNvSpPr txBox="1">
            <a:spLocks/>
          </p:cNvSpPr>
          <p:nvPr>
            <p:custDataLst>
              <p:tags r:id="rId5"/>
            </p:custDataLst>
          </p:nvPr>
        </p:nvSpPr>
        <p:spPr>
          <a:xfrm>
            <a:off x="630017" y="4616141"/>
            <a:ext cx="1518190"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760"/>
              </a:lnSpc>
            </a:pPr>
            <a:r>
              <a:rPr lang="de-DE" sz="1600" b="1">
                <a:cs typeface="Calibri"/>
              </a:rPr>
              <a:t>Headcount Growth </a:t>
            </a:r>
          </a:p>
        </p:txBody>
      </p:sp>
      <p:sp>
        <p:nvSpPr>
          <p:cNvPr id="13" name="Textfeld 12">
            <a:extLst>
              <a:ext uri="{FF2B5EF4-FFF2-40B4-BE49-F238E27FC236}">
                <a16:creationId xmlns:a16="http://schemas.microsoft.com/office/drawing/2014/main" id="{533F3C97-F4BB-E59B-581F-FE5C740008F9}"/>
              </a:ext>
            </a:extLst>
          </p:cNvPr>
          <p:cNvSpPr txBox="1"/>
          <p:nvPr>
            <p:custDataLst>
              <p:tags r:id="rId6"/>
            </p:custDataLst>
          </p:nvPr>
        </p:nvSpPr>
        <p:spPr>
          <a:xfrm>
            <a:off x="2852001" y="3408898"/>
            <a:ext cx="498171" cy="323743"/>
          </a:xfrm>
          <a:prstGeom prst="rect">
            <a:avLst/>
          </a:prstGeom>
          <a:noFill/>
        </p:spPr>
        <p:txBody>
          <a:bodyPr wrap="square">
            <a:spAutoFit/>
          </a:bodyPr>
          <a:lstStyle/>
          <a:p>
            <a:pPr algn="ctr">
              <a:lnSpc>
                <a:spcPts val="1960"/>
              </a:lnSpc>
            </a:pPr>
            <a:r>
              <a:rPr lang="de-DE" sz="1050" b="1" dirty="0">
                <a:blipFill dpi="0" rotWithShape="1">
                  <a:blip r:embed="rId12">
                    <a:extLst>
                      <a:ext uri="{28A0092B-C50C-407E-A947-70E740481C1C}">
                        <a14:useLocalDpi xmlns:a14="http://schemas.microsoft.com/office/drawing/2010/main" val="0"/>
                      </a:ext>
                    </a:extLst>
                  </a:blip>
                  <a:srcRect/>
                  <a:stretch>
                    <a:fillRect/>
                  </a:stretch>
                </a:blipFill>
                <a:latin typeface="+mj-lt"/>
                <a:cs typeface="Calibri"/>
              </a:rPr>
              <a:t>m €</a:t>
            </a:r>
          </a:p>
        </p:txBody>
      </p:sp>
      <p:pic>
        <p:nvPicPr>
          <p:cNvPr id="15" name="Grafik 14">
            <a:extLst>
              <a:ext uri="{FF2B5EF4-FFF2-40B4-BE49-F238E27FC236}">
                <a16:creationId xmlns:a16="http://schemas.microsoft.com/office/drawing/2014/main" id="{6D7F7595-6A73-635A-FAF2-FB27C336BD5D}"/>
              </a:ext>
            </a:extLst>
          </p:cNvPr>
          <p:cNvPicPr>
            <a:picLocks noChangeAspect="1"/>
          </p:cNvPicPr>
          <p:nvPr/>
        </p:nvPicPr>
        <p:blipFill>
          <a:blip>
            <a:extLst>
              <a:ext uri="{96DAC541-7B7A-43D3-8B79-37D633B846F1}">
                <asvg:svgBlip xmlns:asvg="http://schemas.microsoft.com/office/drawing/2016/SVG/main" r:embed="rId13"/>
              </a:ext>
            </a:extLst>
          </a:blip>
          <a:srcRect t="7447" b="40933"/>
          <a:stretch>
            <a:fillRect/>
          </a:stretch>
        </p:blipFill>
        <p:spPr>
          <a:xfrm>
            <a:off x="2739743" y="1933839"/>
            <a:ext cx="8822240" cy="2544324"/>
          </a:xfrm>
          <a:prstGeom prst="rect">
            <a:avLst/>
          </a:prstGeom>
        </p:spPr>
      </p:pic>
      <p:pic>
        <p:nvPicPr>
          <p:cNvPr id="21" name="Grafik 20">
            <a:extLst>
              <a:ext uri="{FF2B5EF4-FFF2-40B4-BE49-F238E27FC236}">
                <a16:creationId xmlns:a16="http://schemas.microsoft.com/office/drawing/2014/main" id="{420646CC-C42A-823E-0010-2A7A9D3C760A}"/>
              </a:ext>
            </a:extLst>
          </p:cNvPr>
          <p:cNvPicPr>
            <a:picLocks noChangeAspect="1"/>
          </p:cNvPicPr>
          <p:nvPr/>
        </p:nvPicPr>
        <p:blipFill>
          <a:blip>
            <a:extLst>
              <a:ext uri="{96DAC541-7B7A-43D3-8B79-37D633B846F1}">
                <asvg:svgBlip xmlns:asvg="http://schemas.microsoft.com/office/drawing/2016/SVG/main" r:embed="rId13"/>
              </a:ext>
            </a:extLst>
          </a:blip>
          <a:srcRect t="59554" b="2744"/>
          <a:stretch>
            <a:fillRect/>
          </a:stretch>
        </p:blipFill>
        <p:spPr>
          <a:xfrm>
            <a:off x="2739743" y="4379961"/>
            <a:ext cx="8822240" cy="1858331"/>
          </a:xfrm>
          <a:prstGeom prst="rect">
            <a:avLst/>
          </a:prstGeom>
        </p:spPr>
      </p:pic>
      <p:sp>
        <p:nvSpPr>
          <p:cNvPr id="22" name="Textfeld 21">
            <a:extLst>
              <a:ext uri="{FF2B5EF4-FFF2-40B4-BE49-F238E27FC236}">
                <a16:creationId xmlns:a16="http://schemas.microsoft.com/office/drawing/2014/main" id="{9493217F-8B9F-826C-D11D-EAD3463A3B20}"/>
              </a:ext>
            </a:extLst>
          </p:cNvPr>
          <p:cNvSpPr txBox="1"/>
          <p:nvPr>
            <p:custDataLst>
              <p:tags r:id="rId7"/>
            </p:custDataLst>
          </p:nvPr>
        </p:nvSpPr>
        <p:spPr>
          <a:xfrm>
            <a:off x="8291287" y="2171528"/>
            <a:ext cx="513754" cy="323743"/>
          </a:xfrm>
          <a:prstGeom prst="rect">
            <a:avLst/>
          </a:prstGeom>
          <a:noFill/>
        </p:spPr>
        <p:txBody>
          <a:bodyPr wrap="square">
            <a:spAutoFit/>
          </a:bodyPr>
          <a:lstStyle>
            <a:defPPr>
              <a:defRPr lang="de-DE"/>
            </a:defPPr>
            <a:lvl1pPr>
              <a:lnSpc>
                <a:spcPts val="1960"/>
              </a:lnSpc>
              <a:defRPr sz="1000" b="1">
                <a:blipFill dpi="0" rotWithShape="1">
                  <a:blip r:embed="rId14">
                    <a:extLst>
                      <a:ext uri="{28A0092B-C50C-407E-A947-70E740481C1C}">
                        <a14:useLocalDpi xmlns:a14="http://schemas.microsoft.com/office/drawing/2010/main" val="0"/>
                      </a:ext>
                    </a:extLst>
                  </a:blip>
                  <a:srcRect/>
                  <a:stretch>
                    <a:fillRect/>
                  </a:stretch>
                </a:blipFill>
                <a:latin typeface="+mj-lt"/>
                <a:cs typeface="Calibri"/>
              </a:defRPr>
            </a:lvl1pPr>
          </a:lstStyle>
          <a:p>
            <a:pPr algn="ctr"/>
            <a:r>
              <a:rPr lang="de-DE" sz="1050" dirty="0" err="1">
                <a:blipFill dpi="0" rotWithShape="1">
                  <a:blip r:embed="rId12">
                    <a:extLst>
                      <a:ext uri="{28A0092B-C50C-407E-A947-70E740481C1C}">
                        <a14:useLocalDpi xmlns:a14="http://schemas.microsoft.com/office/drawing/2010/main" val="0"/>
                      </a:ext>
                    </a:extLst>
                  </a:blip>
                  <a:srcRect/>
                  <a:stretch>
                    <a:fillRect/>
                  </a:stretch>
                </a:blipFill>
              </a:rPr>
              <a:t>bn</a:t>
            </a:r>
            <a:r>
              <a:rPr lang="de-DE" sz="1050" dirty="0">
                <a:blipFill dpi="0" rotWithShape="1">
                  <a:blip r:embed="rId12">
                    <a:extLst>
                      <a:ext uri="{28A0092B-C50C-407E-A947-70E740481C1C}">
                        <a14:useLocalDpi xmlns:a14="http://schemas.microsoft.com/office/drawing/2010/main" val="0"/>
                      </a:ext>
                    </a:extLst>
                  </a:blip>
                  <a:srcRect/>
                  <a:stretch>
                    <a:fillRect/>
                  </a:stretch>
                </a:blipFill>
              </a:rPr>
              <a:t>. €</a:t>
            </a:r>
          </a:p>
        </p:txBody>
      </p:sp>
    </p:spTree>
    <p:extLst>
      <p:ext uri="{BB962C8B-B14F-4D97-AF65-F5344CB8AC3E}">
        <p14:creationId xmlns:p14="http://schemas.microsoft.com/office/powerpoint/2010/main" val="121835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0E9AD6C-A590-47DD-CA91-AE11C642052A}"/>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2" name="Titel 1">
            <a:extLst>
              <a:ext uri="{FF2B5EF4-FFF2-40B4-BE49-F238E27FC236}">
                <a16:creationId xmlns:a16="http://schemas.microsoft.com/office/drawing/2014/main" id="{63941C0B-FF3E-A64D-1CA7-3593AD95646E}"/>
              </a:ext>
            </a:extLst>
          </p:cNvPr>
          <p:cNvSpPr>
            <a:spLocks noGrp="1"/>
          </p:cNvSpPr>
          <p:nvPr>
            <p:ph type="title"/>
          </p:nvPr>
        </p:nvSpPr>
        <p:spPr>
          <a:xfrm>
            <a:off x="623888" y="620713"/>
            <a:ext cx="9488833" cy="738664"/>
          </a:xfrm>
        </p:spPr>
        <p:txBody>
          <a:bodyPr/>
          <a:lstStyle/>
          <a:p>
            <a:r>
              <a:rPr lang="en-US" dirty="0"/>
              <a:t>Our customers benefit from our </a:t>
            </a:r>
            <a:r>
              <a:rPr lang="en-US" b="1" dirty="0"/>
              <a:t>global presence </a:t>
            </a:r>
          </a:p>
        </p:txBody>
      </p:sp>
      <p:sp>
        <p:nvSpPr>
          <p:cNvPr id="5" name="Fußzeilenplatzhalter 1">
            <a:extLst>
              <a:ext uri="{FF2B5EF4-FFF2-40B4-BE49-F238E27FC236}">
                <a16:creationId xmlns:a16="http://schemas.microsoft.com/office/drawing/2014/main" id="{AA921AE4-F828-E456-AC39-6C857527A720}"/>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4</a:t>
            </a:fld>
            <a:endParaRPr lang="de-DE"/>
          </a:p>
        </p:txBody>
      </p:sp>
      <p:sp>
        <p:nvSpPr>
          <p:cNvPr id="263" name="Textplatzhalter 14">
            <a:extLst>
              <a:ext uri="{FF2B5EF4-FFF2-40B4-BE49-F238E27FC236}">
                <a16:creationId xmlns:a16="http://schemas.microsoft.com/office/drawing/2014/main" id="{2FE46EB6-B1A8-3799-A046-396C4286F136}"/>
              </a:ext>
            </a:extLst>
          </p:cNvPr>
          <p:cNvSpPr txBox="1">
            <a:spLocks/>
          </p:cNvSpPr>
          <p:nvPr/>
        </p:nvSpPr>
        <p:spPr>
          <a:xfrm>
            <a:off x="8806291" y="2661554"/>
            <a:ext cx="2419158" cy="25071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dirty="0">
                <a:latin typeface="Aptos Light" panose="020B0004020202020204" pitchFamily="34" charset="0"/>
                <a:cs typeface="Calibri"/>
              </a:rPr>
              <a:t>Countries </a:t>
            </a:r>
          </a:p>
        </p:txBody>
      </p:sp>
      <p:sp>
        <p:nvSpPr>
          <p:cNvPr id="264" name="Textplatzhalter 14">
            <a:extLst>
              <a:ext uri="{FF2B5EF4-FFF2-40B4-BE49-F238E27FC236}">
                <a16:creationId xmlns:a16="http://schemas.microsoft.com/office/drawing/2014/main" id="{BB5DE150-027D-B3A6-E628-164BEE2D5699}"/>
              </a:ext>
            </a:extLst>
          </p:cNvPr>
          <p:cNvSpPr txBox="1">
            <a:spLocks/>
          </p:cNvSpPr>
          <p:nvPr/>
        </p:nvSpPr>
        <p:spPr>
          <a:xfrm>
            <a:off x="8806291" y="3098158"/>
            <a:ext cx="2612168" cy="3374800"/>
          </a:xfrm>
          <a:prstGeom prst="rect">
            <a:avLst/>
          </a:prstGeom>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dirty="0">
                <a:latin typeface="Aptos Light" panose="020B0004020202020204" pitchFamily="34" charset="0"/>
                <a:ea typeface="+mn-lt"/>
                <a:cs typeface="+mn-lt"/>
              </a:rPr>
              <a:t>Germany | </a:t>
            </a:r>
            <a:r>
              <a:rPr lang="de-DE" sz="1400" dirty="0" err="1">
                <a:latin typeface="Aptos Light" panose="020B0004020202020204" pitchFamily="34" charset="0"/>
                <a:ea typeface="+mn-lt"/>
                <a:cs typeface="+mn-lt"/>
              </a:rPr>
              <a:t>Bulgaria</a:t>
            </a:r>
            <a:r>
              <a:rPr lang="de-DE" sz="1400" dirty="0">
                <a:latin typeface="Aptos Light" panose="020B0004020202020204" pitchFamily="34" charset="0"/>
                <a:ea typeface="+mn-lt"/>
                <a:cs typeface="+mn-lt"/>
              </a:rPr>
              <a:t> | </a:t>
            </a:r>
          </a:p>
          <a:p>
            <a:r>
              <a:rPr lang="de-DE" sz="1400" dirty="0">
                <a:latin typeface="Aptos Light" panose="020B0004020202020204" pitchFamily="34" charset="0"/>
                <a:ea typeface="+mn-lt"/>
                <a:cs typeface="+mn-lt"/>
              </a:rPr>
              <a:t>France | </a:t>
            </a:r>
            <a:r>
              <a:rPr lang="de-DE" sz="1400" dirty="0" err="1">
                <a:latin typeface="Aptos Light" panose="020B0004020202020204" pitchFamily="34" charset="0"/>
                <a:ea typeface="+mn-lt"/>
                <a:cs typeface="+mn-lt"/>
              </a:rPr>
              <a:t>Italy</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Croatia</a:t>
            </a:r>
            <a:r>
              <a:rPr lang="de-DE" sz="1400" dirty="0">
                <a:latin typeface="Aptos Light" panose="020B0004020202020204" pitchFamily="34" charset="0"/>
                <a:ea typeface="+mn-lt"/>
                <a:cs typeface="+mn-lt"/>
              </a:rPr>
              <a:t> | </a:t>
            </a:r>
          </a:p>
          <a:p>
            <a:r>
              <a:rPr lang="de-DE" sz="1400" dirty="0">
                <a:latin typeface="Aptos Light" panose="020B0004020202020204" pitchFamily="34" charset="0"/>
                <a:ea typeface="+mn-lt"/>
                <a:cs typeface="+mn-lt"/>
              </a:rPr>
              <a:t>Malta | </a:t>
            </a:r>
            <a:r>
              <a:rPr lang="de-DE" sz="1400" dirty="0" err="1">
                <a:latin typeface="Aptos Light" panose="020B0004020202020204" pitchFamily="34" charset="0"/>
                <a:ea typeface="+mn-lt"/>
                <a:cs typeface="+mn-lt"/>
              </a:rPr>
              <a:t>Netherlands</a:t>
            </a:r>
            <a:r>
              <a:rPr lang="de-DE" sz="1400" dirty="0">
                <a:latin typeface="Aptos Light" panose="020B0004020202020204" pitchFamily="34" charset="0"/>
                <a:ea typeface="+mn-lt"/>
                <a:cs typeface="+mn-lt"/>
              </a:rPr>
              <a:t> | Austria | </a:t>
            </a:r>
            <a:r>
              <a:rPr lang="de-DE" sz="1400" dirty="0" err="1">
                <a:latin typeface="Aptos Light" panose="020B0004020202020204" pitchFamily="34" charset="0"/>
                <a:ea typeface="+mn-lt"/>
                <a:cs typeface="+mn-lt"/>
              </a:rPr>
              <a:t>Poland</a:t>
            </a:r>
            <a:r>
              <a:rPr lang="de-DE" sz="1400" dirty="0">
                <a:latin typeface="Aptos Light" panose="020B0004020202020204" pitchFamily="34" charset="0"/>
                <a:ea typeface="+mn-lt"/>
                <a:cs typeface="+mn-lt"/>
              </a:rPr>
              <a:t> | Portugal | Romania | </a:t>
            </a:r>
            <a:r>
              <a:rPr lang="de-DE" sz="1400" dirty="0" err="1">
                <a:latin typeface="Aptos Light" panose="020B0004020202020204" pitchFamily="34" charset="0"/>
                <a:ea typeface="+mn-lt"/>
                <a:cs typeface="+mn-lt"/>
              </a:rPr>
              <a:t>Switzerland</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Serbia</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Slovakia</a:t>
            </a:r>
            <a:r>
              <a:rPr lang="de-DE" sz="1400" dirty="0">
                <a:latin typeface="Aptos Light" panose="020B0004020202020204" pitchFamily="34" charset="0"/>
                <a:ea typeface="+mn-lt"/>
                <a:cs typeface="+mn-lt"/>
              </a:rPr>
              <a:t>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Slovenia | Spain | </a:t>
            </a:r>
          </a:p>
          <a:p>
            <a:r>
              <a:rPr lang="de-DE" sz="1400" dirty="0">
                <a:latin typeface="Aptos Light" panose="020B0004020202020204" pitchFamily="34" charset="0"/>
                <a:ea typeface="+mn-lt"/>
                <a:cs typeface="+mn-lt"/>
              </a:rPr>
              <a:t>Czech </a:t>
            </a:r>
            <a:r>
              <a:rPr lang="de-DE" sz="1400" dirty="0" err="1">
                <a:latin typeface="Aptos Light" panose="020B0004020202020204" pitchFamily="34" charset="0"/>
                <a:ea typeface="+mn-lt"/>
                <a:cs typeface="+mn-lt"/>
              </a:rPr>
              <a:t>Republic</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Hungary</a:t>
            </a:r>
            <a:r>
              <a:rPr lang="de-DE" sz="1400" dirty="0">
                <a:latin typeface="Aptos Light" panose="020B0004020202020204" pitchFamily="34" charset="0"/>
                <a:ea typeface="+mn-lt"/>
                <a:cs typeface="+mn-lt"/>
              </a:rPr>
              <a:t> | </a:t>
            </a:r>
          </a:p>
          <a:p>
            <a:r>
              <a:rPr lang="de-DE" sz="1400" dirty="0">
                <a:latin typeface="Aptos Light" panose="020B0004020202020204" pitchFamily="34" charset="0"/>
                <a:ea typeface="+mn-lt"/>
                <a:cs typeface="+mn-lt"/>
              </a:rPr>
              <a:t>United Kingdom | Ukraine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Australia | Brazil | China |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India | Japan | Canada | </a:t>
            </a:r>
            <a:br>
              <a:rPr lang="de-DE" sz="1400" dirty="0">
                <a:latin typeface="Aptos Light" panose="020B0004020202020204" pitchFamily="34" charset="0"/>
                <a:ea typeface="+mn-lt"/>
                <a:cs typeface="+mn-lt"/>
              </a:rPr>
            </a:br>
            <a:r>
              <a:rPr lang="de-DE" sz="1400" dirty="0" err="1">
                <a:latin typeface="Aptos Light" panose="020B0004020202020204" pitchFamily="34" charset="0"/>
                <a:ea typeface="+mn-lt"/>
                <a:cs typeface="+mn-lt"/>
              </a:rPr>
              <a:t>Kazakhstan</a:t>
            </a:r>
            <a:r>
              <a:rPr lang="de-DE" sz="1400" dirty="0">
                <a:latin typeface="Aptos Light" panose="020B0004020202020204" pitchFamily="34" charset="0"/>
                <a:ea typeface="+mn-lt"/>
                <a:cs typeface="+mn-lt"/>
              </a:rPr>
              <a:t> | Korea | Mexico |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Philippines | Singapore |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South </a:t>
            </a:r>
            <a:r>
              <a:rPr lang="de-DE" sz="1400" dirty="0" err="1">
                <a:latin typeface="Aptos Light" panose="020B0004020202020204" pitchFamily="34" charset="0"/>
                <a:ea typeface="+mn-lt"/>
                <a:cs typeface="+mn-lt"/>
              </a:rPr>
              <a:t>Africa</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Uzbekistan</a:t>
            </a:r>
            <a:r>
              <a:rPr lang="de-DE" sz="1400" dirty="0">
                <a:latin typeface="Aptos Light" panose="020B0004020202020204" pitchFamily="34" charset="0"/>
                <a:ea typeface="+mn-lt"/>
                <a:cs typeface="+mn-lt"/>
              </a:rPr>
              <a:t> | USA</a:t>
            </a:r>
          </a:p>
        </p:txBody>
      </p:sp>
      <p:cxnSp>
        <p:nvCxnSpPr>
          <p:cNvPr id="4" name="Gerade Verbindung 268">
            <a:extLst>
              <a:ext uri="{FF2B5EF4-FFF2-40B4-BE49-F238E27FC236}">
                <a16:creationId xmlns:a16="http://schemas.microsoft.com/office/drawing/2014/main" id="{97A6E86B-D4B2-04FB-B7B9-2CD65C4FBCD6}"/>
              </a:ext>
            </a:extLst>
          </p:cNvPr>
          <p:cNvCxnSpPr>
            <a:cxnSpLocks/>
          </p:cNvCxnSpPr>
          <p:nvPr/>
        </p:nvCxnSpPr>
        <p:spPr>
          <a:xfrm>
            <a:off x="8496338" y="1362075"/>
            <a:ext cx="0" cy="492573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6" name="Grafik 5" descr="Ein Bild, das Text, Screenshot, Schrift, Grafiken enthält.&#10;&#10;Automatisch generierte Beschreibung">
            <a:extLst>
              <a:ext uri="{FF2B5EF4-FFF2-40B4-BE49-F238E27FC236}">
                <a16:creationId xmlns:a16="http://schemas.microsoft.com/office/drawing/2014/main" id="{163AECFB-0C3D-F41D-A332-43F8F48AABC2}"/>
              </a:ext>
            </a:extLst>
          </p:cNvPr>
          <p:cNvPicPr>
            <a:picLocks noChangeAspect="1"/>
          </p:cNvPicPr>
          <p:nvPr/>
        </p:nvPicPr>
        <p:blipFill>
          <a:blip r:embed="rId6"/>
          <a:srcRect t="88842" r="70005" b="3796"/>
          <a:stretch/>
        </p:blipFill>
        <p:spPr>
          <a:xfrm>
            <a:off x="8781711" y="2088901"/>
            <a:ext cx="708120" cy="479705"/>
          </a:xfrm>
          <a:prstGeom prst="rect">
            <a:avLst/>
          </a:prstGeom>
        </p:spPr>
      </p:pic>
      <p:pic>
        <p:nvPicPr>
          <p:cNvPr id="10" name="Grafik 9">
            <a:extLst>
              <a:ext uri="{FF2B5EF4-FFF2-40B4-BE49-F238E27FC236}">
                <a16:creationId xmlns:a16="http://schemas.microsoft.com/office/drawing/2014/main" id="{9BC42A77-9CC4-23FB-7A23-A39633F9751B}"/>
              </a:ext>
            </a:extLst>
          </p:cNvPr>
          <p:cNvPicPr>
            <a:picLocks noChangeAspect="1"/>
          </p:cNvPicPr>
          <p:nvPr/>
        </p:nvPicPr>
        <p:blipFill>
          <a:blip r:embed="rId7"/>
          <a:srcRect/>
          <a:stretch/>
        </p:blipFill>
        <p:spPr>
          <a:xfrm>
            <a:off x="659511" y="1798954"/>
            <a:ext cx="7771001" cy="4582383"/>
          </a:xfrm>
          <a:prstGeom prst="rect">
            <a:avLst/>
          </a:prstGeom>
        </p:spPr>
      </p:pic>
    </p:spTree>
    <p:extLst>
      <p:ext uri="{BB962C8B-B14F-4D97-AF65-F5344CB8AC3E}">
        <p14:creationId xmlns:p14="http://schemas.microsoft.com/office/powerpoint/2010/main" val="267644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06" imgH="306" progId="TCLayout.ActiveDocument.1">
                  <p:embed/>
                </p:oleObj>
              </mc:Choice>
              <mc:Fallback>
                <p:oleObj name="think-cell Folie" r:id="rId9"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ED978775-7258-5C8F-C795-176866F7408B}"/>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2" name="Titel 1">
            <a:extLst>
              <a:ext uri="{FF2B5EF4-FFF2-40B4-BE49-F238E27FC236}">
                <a16:creationId xmlns:a16="http://schemas.microsoft.com/office/drawing/2014/main" id="{6034CA0B-BFBA-9412-CC5E-EF6872BFC2FD}"/>
              </a:ext>
            </a:extLst>
          </p:cNvPr>
          <p:cNvSpPr>
            <a:spLocks noGrp="1"/>
          </p:cNvSpPr>
          <p:nvPr>
            <p:ph type="title"/>
          </p:nvPr>
        </p:nvSpPr>
        <p:spPr>
          <a:xfrm>
            <a:off x="623888" y="620713"/>
            <a:ext cx="10018712" cy="738187"/>
          </a:xfrm>
        </p:spPr>
        <p:txBody>
          <a:bodyPr/>
          <a:lstStyle/>
          <a:p>
            <a:r>
              <a:rPr lang="en-US" b="1" dirty="0"/>
              <a:t>Local presence </a:t>
            </a:r>
            <a:r>
              <a:rPr lang="en-US" dirty="0"/>
              <a:t>for our German customers is what really characterizes us</a:t>
            </a:r>
          </a:p>
        </p:txBody>
      </p:sp>
      <p:sp>
        <p:nvSpPr>
          <p:cNvPr id="5" name="Fußzeilenplatzhalter 1">
            <a:extLst>
              <a:ext uri="{FF2B5EF4-FFF2-40B4-BE49-F238E27FC236}">
                <a16:creationId xmlns:a16="http://schemas.microsoft.com/office/drawing/2014/main" id="{A14D8D66-8067-12E3-269C-091197A1B72C}"/>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5</a:t>
            </a:fld>
            <a:endParaRPr lang="de-DE"/>
          </a:p>
        </p:txBody>
      </p:sp>
      <p:sp>
        <p:nvSpPr>
          <p:cNvPr id="8" name="Textplatzhalter 14">
            <a:extLst>
              <a:ext uri="{FF2B5EF4-FFF2-40B4-BE49-F238E27FC236}">
                <a16:creationId xmlns:a16="http://schemas.microsoft.com/office/drawing/2014/main" id="{9C0C2A36-1A30-4B4B-D714-134EE293BEB7}"/>
              </a:ext>
            </a:extLst>
          </p:cNvPr>
          <p:cNvSpPr txBox="1">
            <a:spLocks/>
          </p:cNvSpPr>
          <p:nvPr/>
        </p:nvSpPr>
        <p:spPr>
          <a:xfrm>
            <a:off x="8773245" y="2624291"/>
            <a:ext cx="2419158" cy="249235"/>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err="1">
                <a:latin typeface="Aptos Light" panose="020B0004020202020204" pitchFamily="34" charset="0"/>
                <a:cs typeface="Calibri"/>
              </a:rPr>
              <a:t>Employees</a:t>
            </a:r>
            <a:r>
              <a:rPr lang="de-DE" sz="1600">
                <a:latin typeface="Aptos Light" panose="020B0004020202020204" pitchFamily="34" charset="0"/>
                <a:cs typeface="Calibri"/>
              </a:rPr>
              <a:t> </a:t>
            </a:r>
          </a:p>
        </p:txBody>
      </p:sp>
      <p:sp>
        <p:nvSpPr>
          <p:cNvPr id="10" name="Textplatzhalter 14">
            <a:extLst>
              <a:ext uri="{FF2B5EF4-FFF2-40B4-BE49-F238E27FC236}">
                <a16:creationId xmlns:a16="http://schemas.microsoft.com/office/drawing/2014/main" id="{9484BA22-A473-57CD-DF5E-6844A3E71269}"/>
              </a:ext>
            </a:extLst>
          </p:cNvPr>
          <p:cNvSpPr txBox="1">
            <a:spLocks/>
          </p:cNvSpPr>
          <p:nvPr/>
        </p:nvSpPr>
        <p:spPr>
          <a:xfrm>
            <a:off x="8773245" y="3830540"/>
            <a:ext cx="2419158" cy="250710"/>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a:latin typeface="Aptos Light" panose="020B0004020202020204" pitchFamily="34" charset="0"/>
                <a:cs typeface="Calibri"/>
              </a:rPr>
              <a:t>Locations </a:t>
            </a:r>
          </a:p>
        </p:txBody>
      </p:sp>
      <p:sp>
        <p:nvSpPr>
          <p:cNvPr id="13" name="Textplatzhalter 14">
            <a:extLst>
              <a:ext uri="{FF2B5EF4-FFF2-40B4-BE49-F238E27FC236}">
                <a16:creationId xmlns:a16="http://schemas.microsoft.com/office/drawing/2014/main" id="{40A9CE44-E6B7-073A-A7BC-5FE29FDA9DEA}"/>
              </a:ext>
            </a:extLst>
          </p:cNvPr>
          <p:cNvSpPr txBox="1">
            <a:spLocks/>
          </p:cNvSpPr>
          <p:nvPr/>
        </p:nvSpPr>
        <p:spPr>
          <a:xfrm>
            <a:off x="8773245" y="5005707"/>
            <a:ext cx="2419158" cy="505716"/>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dirty="0" err="1">
                <a:latin typeface="Aptos Light" panose="020B0004020202020204" pitchFamily="34" charset="0"/>
                <a:cs typeface="Calibri"/>
              </a:rPr>
              <a:t>million</a:t>
            </a:r>
            <a:r>
              <a:rPr lang="de-DE" sz="1600" dirty="0">
                <a:latin typeface="Aptos Light" panose="020B0004020202020204" pitchFamily="34" charset="0"/>
                <a:cs typeface="Calibri"/>
              </a:rPr>
              <a:t> € </a:t>
            </a:r>
            <a:r>
              <a:rPr lang="de-DE" sz="1600" dirty="0" err="1">
                <a:latin typeface="Aptos Light" panose="020B0004020202020204" pitchFamily="34" charset="0"/>
                <a:cs typeface="Calibri"/>
              </a:rPr>
              <a:t>sales</a:t>
            </a:r>
            <a:r>
              <a:rPr lang="de-DE" sz="1600" dirty="0">
                <a:latin typeface="Aptos Light" panose="020B0004020202020204" pitchFamily="34" charset="0"/>
                <a:cs typeface="Calibri"/>
              </a:rPr>
              <a:t> in 2025 (</a:t>
            </a:r>
            <a:r>
              <a:rPr lang="de-DE" sz="1600" dirty="0" err="1">
                <a:latin typeface="Aptos Light" panose="020B0004020202020204" pitchFamily="34" charset="0"/>
                <a:cs typeface="Calibri"/>
              </a:rPr>
              <a:t>preliminary</a:t>
            </a:r>
            <a:r>
              <a:rPr lang="de-DE" sz="1600" dirty="0">
                <a:latin typeface="Aptos Light" panose="020B0004020202020204" pitchFamily="34" charset="0"/>
                <a:cs typeface="Calibri"/>
              </a:rPr>
              <a:t>)</a:t>
            </a:r>
          </a:p>
        </p:txBody>
      </p:sp>
      <p:cxnSp>
        <p:nvCxnSpPr>
          <p:cNvPr id="23" name="Gerade Verbindung 268">
            <a:extLst>
              <a:ext uri="{FF2B5EF4-FFF2-40B4-BE49-F238E27FC236}">
                <a16:creationId xmlns:a16="http://schemas.microsoft.com/office/drawing/2014/main" id="{2692949B-497B-F52B-CACF-5F880394CF95}"/>
              </a:ext>
            </a:extLst>
          </p:cNvPr>
          <p:cNvCxnSpPr>
            <a:cxnSpLocks/>
          </p:cNvCxnSpPr>
          <p:nvPr/>
        </p:nvCxnSpPr>
        <p:spPr>
          <a:xfrm>
            <a:off x="8496338" y="1362075"/>
            <a:ext cx="0" cy="492573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1BF31A00-BB9E-9460-BF28-2D8E23A3D346}"/>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8000"/>
                    </a14:imgEffect>
                  </a14:imgLayer>
                </a14:imgProps>
              </a:ext>
            </a:extLst>
          </a:blip>
          <a:srcRect/>
          <a:stretch/>
        </p:blipFill>
        <p:spPr>
          <a:xfrm>
            <a:off x="2100572" y="1051898"/>
            <a:ext cx="4334617" cy="5331632"/>
          </a:xfrm>
          <a:prstGeom prst="rect">
            <a:avLst/>
          </a:prstGeom>
        </p:spPr>
      </p:pic>
      <p:sp>
        <p:nvSpPr>
          <p:cNvPr id="20" name="Textplatzhalter 14">
            <a:extLst>
              <a:ext uri="{FF2B5EF4-FFF2-40B4-BE49-F238E27FC236}">
                <a16:creationId xmlns:a16="http://schemas.microsoft.com/office/drawing/2014/main" id="{ED8F7A1E-7191-FD47-C728-BBCFD83EB0E4}"/>
              </a:ext>
            </a:extLst>
          </p:cNvPr>
          <p:cNvSpPr txBox="1">
            <a:spLocks/>
          </p:cNvSpPr>
          <p:nvPr/>
        </p:nvSpPr>
        <p:spPr>
          <a:xfrm>
            <a:off x="4144442" y="2097242"/>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Hamburg</a:t>
            </a:r>
          </a:p>
        </p:txBody>
      </p:sp>
      <p:sp>
        <p:nvSpPr>
          <p:cNvPr id="30" name="Textplatzhalter 14">
            <a:extLst>
              <a:ext uri="{FF2B5EF4-FFF2-40B4-BE49-F238E27FC236}">
                <a16:creationId xmlns:a16="http://schemas.microsoft.com/office/drawing/2014/main" id="{B24527AA-78D7-51B4-7833-722CFCC5BC8A}"/>
              </a:ext>
            </a:extLst>
          </p:cNvPr>
          <p:cNvSpPr txBox="1">
            <a:spLocks/>
          </p:cNvSpPr>
          <p:nvPr/>
        </p:nvSpPr>
        <p:spPr>
          <a:xfrm>
            <a:off x="5605698" y="2720888"/>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Berlin</a:t>
            </a:r>
          </a:p>
        </p:txBody>
      </p:sp>
      <p:sp>
        <p:nvSpPr>
          <p:cNvPr id="31" name="Textplatzhalter 14">
            <a:extLst>
              <a:ext uri="{FF2B5EF4-FFF2-40B4-BE49-F238E27FC236}">
                <a16:creationId xmlns:a16="http://schemas.microsoft.com/office/drawing/2014/main" id="{5A07A6F2-3782-ECA3-7AAB-791851E2EFBF}"/>
              </a:ext>
            </a:extLst>
          </p:cNvPr>
          <p:cNvSpPr txBox="1">
            <a:spLocks/>
          </p:cNvSpPr>
          <p:nvPr/>
        </p:nvSpPr>
        <p:spPr>
          <a:xfrm>
            <a:off x="4372733" y="2971860"/>
            <a:ext cx="1685768" cy="276541"/>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cs typeface="Calibri"/>
              </a:rPr>
              <a:t>Braunschweig</a:t>
            </a:r>
          </a:p>
        </p:txBody>
      </p:sp>
      <p:sp>
        <p:nvSpPr>
          <p:cNvPr id="32" name="Textplatzhalter 14">
            <a:extLst>
              <a:ext uri="{FF2B5EF4-FFF2-40B4-BE49-F238E27FC236}">
                <a16:creationId xmlns:a16="http://schemas.microsoft.com/office/drawing/2014/main" id="{155E293F-D644-6A00-123C-7D80C7807EE8}"/>
              </a:ext>
            </a:extLst>
          </p:cNvPr>
          <p:cNvSpPr txBox="1">
            <a:spLocks/>
          </p:cNvSpPr>
          <p:nvPr/>
        </p:nvSpPr>
        <p:spPr>
          <a:xfrm>
            <a:off x="2026101" y="3162447"/>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cs typeface="Calibri"/>
              </a:rPr>
              <a:t>Münster</a:t>
            </a:r>
          </a:p>
        </p:txBody>
      </p:sp>
      <p:sp>
        <p:nvSpPr>
          <p:cNvPr id="33" name="Textplatzhalter 14">
            <a:extLst>
              <a:ext uri="{FF2B5EF4-FFF2-40B4-BE49-F238E27FC236}">
                <a16:creationId xmlns:a16="http://schemas.microsoft.com/office/drawing/2014/main" id="{6CD943B3-6878-E392-5590-8865F984B235}"/>
              </a:ext>
            </a:extLst>
          </p:cNvPr>
          <p:cNvSpPr txBox="1">
            <a:spLocks/>
          </p:cNvSpPr>
          <p:nvPr/>
        </p:nvSpPr>
        <p:spPr>
          <a:xfrm>
            <a:off x="4799917" y="568536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Ismaning/Munich</a:t>
            </a:r>
          </a:p>
        </p:txBody>
      </p:sp>
      <p:sp>
        <p:nvSpPr>
          <p:cNvPr id="34" name="Textplatzhalter 14">
            <a:extLst>
              <a:ext uri="{FF2B5EF4-FFF2-40B4-BE49-F238E27FC236}">
                <a16:creationId xmlns:a16="http://schemas.microsoft.com/office/drawing/2014/main" id="{CC31F768-477F-122F-8198-3C749C4796E4}"/>
              </a:ext>
            </a:extLst>
          </p:cNvPr>
          <p:cNvSpPr txBox="1">
            <a:spLocks/>
          </p:cNvSpPr>
          <p:nvPr/>
        </p:nvSpPr>
        <p:spPr>
          <a:xfrm>
            <a:off x="1865054" y="563880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cs typeface="Calibri"/>
              </a:rPr>
              <a:t>St. Georgen</a:t>
            </a:r>
          </a:p>
        </p:txBody>
      </p:sp>
      <p:sp>
        <p:nvSpPr>
          <p:cNvPr id="35" name="Textplatzhalter 14">
            <a:extLst>
              <a:ext uri="{FF2B5EF4-FFF2-40B4-BE49-F238E27FC236}">
                <a16:creationId xmlns:a16="http://schemas.microsoft.com/office/drawing/2014/main" id="{78421A5D-D57D-AC60-38FF-19F5D1D50C30}"/>
              </a:ext>
            </a:extLst>
          </p:cNvPr>
          <p:cNvSpPr txBox="1">
            <a:spLocks/>
          </p:cNvSpPr>
          <p:nvPr/>
        </p:nvSpPr>
        <p:spPr>
          <a:xfrm>
            <a:off x="1879013" y="5107941"/>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cs typeface="Calibri"/>
              </a:rPr>
              <a:t>Karlsruhe</a:t>
            </a:r>
          </a:p>
        </p:txBody>
      </p:sp>
      <p:sp>
        <p:nvSpPr>
          <p:cNvPr id="36" name="Textplatzhalter 14">
            <a:extLst>
              <a:ext uri="{FF2B5EF4-FFF2-40B4-BE49-F238E27FC236}">
                <a16:creationId xmlns:a16="http://schemas.microsoft.com/office/drawing/2014/main" id="{BC02309C-02E1-EC37-416E-9CBC9A2F8D2D}"/>
              </a:ext>
            </a:extLst>
          </p:cNvPr>
          <p:cNvSpPr txBox="1">
            <a:spLocks/>
          </p:cNvSpPr>
          <p:nvPr/>
        </p:nvSpPr>
        <p:spPr>
          <a:xfrm>
            <a:off x="3802626" y="5285986"/>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Stuttgart</a:t>
            </a:r>
          </a:p>
        </p:txBody>
      </p:sp>
      <p:sp>
        <p:nvSpPr>
          <p:cNvPr id="38" name="Textplatzhalter 14">
            <a:extLst>
              <a:ext uri="{FF2B5EF4-FFF2-40B4-BE49-F238E27FC236}">
                <a16:creationId xmlns:a16="http://schemas.microsoft.com/office/drawing/2014/main" id="{2E4F77CD-199E-1E15-A910-B62DFA07F696}"/>
              </a:ext>
            </a:extLst>
          </p:cNvPr>
          <p:cNvSpPr txBox="1">
            <a:spLocks/>
          </p:cNvSpPr>
          <p:nvPr/>
        </p:nvSpPr>
        <p:spPr>
          <a:xfrm>
            <a:off x="5629491" y="5374996"/>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Passau</a:t>
            </a:r>
          </a:p>
        </p:txBody>
      </p:sp>
      <p:sp>
        <p:nvSpPr>
          <p:cNvPr id="39" name="Textplatzhalter 14">
            <a:extLst>
              <a:ext uri="{FF2B5EF4-FFF2-40B4-BE49-F238E27FC236}">
                <a16:creationId xmlns:a16="http://schemas.microsoft.com/office/drawing/2014/main" id="{F580EC95-E369-2E2C-93CD-21C3E73A73F9}"/>
              </a:ext>
            </a:extLst>
          </p:cNvPr>
          <p:cNvSpPr txBox="1">
            <a:spLocks/>
          </p:cNvSpPr>
          <p:nvPr/>
        </p:nvSpPr>
        <p:spPr>
          <a:xfrm>
            <a:off x="3009009" y="4803956"/>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err="1">
                <a:cs typeface="Calibri"/>
              </a:rPr>
              <a:t>Nuremberg</a:t>
            </a:r>
            <a:endParaRPr lang="de-DE" sz="1200">
              <a:cs typeface="Calibri"/>
            </a:endParaRPr>
          </a:p>
        </p:txBody>
      </p:sp>
      <p:sp>
        <p:nvSpPr>
          <p:cNvPr id="40" name="Textplatzhalter 14">
            <a:extLst>
              <a:ext uri="{FF2B5EF4-FFF2-40B4-BE49-F238E27FC236}">
                <a16:creationId xmlns:a16="http://schemas.microsoft.com/office/drawing/2014/main" id="{A54DEE58-5A74-582E-DCB9-11FD96FFA471}"/>
              </a:ext>
            </a:extLst>
          </p:cNvPr>
          <p:cNvSpPr txBox="1">
            <a:spLocks/>
          </p:cNvSpPr>
          <p:nvPr/>
        </p:nvSpPr>
        <p:spPr>
          <a:xfrm>
            <a:off x="1984690" y="440360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cs typeface="Calibri"/>
              </a:rPr>
              <a:t>Frankfurt/M.</a:t>
            </a:r>
          </a:p>
        </p:txBody>
      </p:sp>
      <p:sp>
        <p:nvSpPr>
          <p:cNvPr id="42" name="Textplatzhalter 14">
            <a:extLst>
              <a:ext uri="{FF2B5EF4-FFF2-40B4-BE49-F238E27FC236}">
                <a16:creationId xmlns:a16="http://schemas.microsoft.com/office/drawing/2014/main" id="{FDD5F7D5-DEC1-11D7-AE00-7C8CAA0DA31D}"/>
              </a:ext>
            </a:extLst>
          </p:cNvPr>
          <p:cNvSpPr txBox="1">
            <a:spLocks/>
          </p:cNvSpPr>
          <p:nvPr/>
        </p:nvSpPr>
        <p:spPr>
          <a:xfrm>
            <a:off x="1413547" y="272088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Lingen (Ems) </a:t>
            </a:r>
          </a:p>
        </p:txBody>
      </p:sp>
      <p:sp>
        <p:nvSpPr>
          <p:cNvPr id="47" name="Textplatzhalter 14">
            <a:extLst>
              <a:ext uri="{FF2B5EF4-FFF2-40B4-BE49-F238E27FC236}">
                <a16:creationId xmlns:a16="http://schemas.microsoft.com/office/drawing/2014/main" id="{B25DB796-5AD6-E3EC-8187-A485BFC96B4F}"/>
              </a:ext>
            </a:extLst>
          </p:cNvPr>
          <p:cNvSpPr txBox="1">
            <a:spLocks/>
          </p:cNvSpPr>
          <p:nvPr/>
        </p:nvSpPr>
        <p:spPr>
          <a:xfrm>
            <a:off x="2510525" y="2564362"/>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err="1">
                <a:cs typeface="Calibri"/>
              </a:rPr>
              <a:t>Hanover</a:t>
            </a:r>
            <a:endParaRPr lang="de-DE" sz="1200" dirty="0">
              <a:cs typeface="Calibri"/>
            </a:endParaRPr>
          </a:p>
        </p:txBody>
      </p:sp>
      <p:sp>
        <p:nvSpPr>
          <p:cNvPr id="48" name="Textplatzhalter 14">
            <a:extLst>
              <a:ext uri="{FF2B5EF4-FFF2-40B4-BE49-F238E27FC236}">
                <a16:creationId xmlns:a16="http://schemas.microsoft.com/office/drawing/2014/main" id="{07663F36-11A5-4613-A30B-9999D9BEC8F9}"/>
              </a:ext>
            </a:extLst>
          </p:cNvPr>
          <p:cNvSpPr txBox="1">
            <a:spLocks/>
          </p:cNvSpPr>
          <p:nvPr/>
        </p:nvSpPr>
        <p:spPr>
          <a:xfrm>
            <a:off x="1200738" y="365394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err="1">
                <a:cs typeface="Calibri"/>
              </a:rPr>
              <a:t>Dusseldorf</a:t>
            </a:r>
            <a:endParaRPr lang="de-DE" sz="1200" dirty="0">
              <a:cs typeface="Calibri"/>
            </a:endParaRPr>
          </a:p>
        </p:txBody>
      </p:sp>
      <p:sp>
        <p:nvSpPr>
          <p:cNvPr id="50" name="Textplatzhalter 14">
            <a:extLst>
              <a:ext uri="{FF2B5EF4-FFF2-40B4-BE49-F238E27FC236}">
                <a16:creationId xmlns:a16="http://schemas.microsoft.com/office/drawing/2014/main" id="{DA058C6C-1471-8797-86C8-6B9B2A0980BE}"/>
              </a:ext>
            </a:extLst>
          </p:cNvPr>
          <p:cNvSpPr txBox="1">
            <a:spLocks/>
          </p:cNvSpPr>
          <p:nvPr/>
        </p:nvSpPr>
        <p:spPr>
          <a:xfrm>
            <a:off x="2915631" y="3501027"/>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Essen</a:t>
            </a:r>
          </a:p>
        </p:txBody>
      </p:sp>
      <p:sp>
        <p:nvSpPr>
          <p:cNvPr id="51" name="Textplatzhalter 14">
            <a:extLst>
              <a:ext uri="{FF2B5EF4-FFF2-40B4-BE49-F238E27FC236}">
                <a16:creationId xmlns:a16="http://schemas.microsoft.com/office/drawing/2014/main" id="{EAA2C685-BB90-988A-F521-45787705925E}"/>
              </a:ext>
            </a:extLst>
          </p:cNvPr>
          <p:cNvSpPr txBox="1">
            <a:spLocks/>
          </p:cNvSpPr>
          <p:nvPr/>
        </p:nvSpPr>
        <p:spPr>
          <a:xfrm>
            <a:off x="2902729" y="3855730"/>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cs typeface="Calibri"/>
              </a:rPr>
              <a:t>Cologne</a:t>
            </a:r>
          </a:p>
        </p:txBody>
      </p:sp>
      <p:pic>
        <p:nvPicPr>
          <p:cNvPr id="56" name="Grafik 55" descr="Ein Bild, das rot, Herz enthält.&#10;&#10;Automatisch generierte Beschreibung">
            <a:extLst>
              <a:ext uri="{FF2B5EF4-FFF2-40B4-BE49-F238E27FC236}">
                <a16:creationId xmlns:a16="http://schemas.microsoft.com/office/drawing/2014/main" id="{B9307EFD-6FC7-DD0E-9F22-6A248542A5D4}"/>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975755" y="1973007"/>
            <a:ext cx="178642" cy="233608"/>
          </a:xfrm>
          <a:prstGeom prst="rect">
            <a:avLst/>
          </a:prstGeom>
        </p:spPr>
      </p:pic>
      <p:pic>
        <p:nvPicPr>
          <p:cNvPr id="57" name="Grafik 56" descr="Ein Bild, das rot, Herz enthält.&#10;&#10;Automatisch generierte Beschreibung">
            <a:extLst>
              <a:ext uri="{FF2B5EF4-FFF2-40B4-BE49-F238E27FC236}">
                <a16:creationId xmlns:a16="http://schemas.microsoft.com/office/drawing/2014/main" id="{A061A666-C02B-2FFD-0593-09C8D3ABF3BF}"/>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5385720" y="2710869"/>
            <a:ext cx="178642" cy="233608"/>
          </a:xfrm>
          <a:prstGeom prst="rect">
            <a:avLst/>
          </a:prstGeom>
        </p:spPr>
      </p:pic>
      <p:pic>
        <p:nvPicPr>
          <p:cNvPr id="58" name="Grafik 57" descr="Ein Bild, das rot, Herz enthält.&#10;&#10;Automatisch generierte Beschreibung">
            <a:extLst>
              <a:ext uri="{FF2B5EF4-FFF2-40B4-BE49-F238E27FC236}">
                <a16:creationId xmlns:a16="http://schemas.microsoft.com/office/drawing/2014/main" id="{12BF6092-4ACB-F887-79ED-BEC6BA2D2205}"/>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190182" y="2866086"/>
            <a:ext cx="178642" cy="233608"/>
          </a:xfrm>
          <a:prstGeom prst="rect">
            <a:avLst/>
          </a:prstGeom>
        </p:spPr>
      </p:pic>
      <p:pic>
        <p:nvPicPr>
          <p:cNvPr id="59" name="Grafik 58" descr="Ein Bild, das rot, Herz enthält.&#10;&#10;Automatisch generierte Beschreibung">
            <a:extLst>
              <a:ext uri="{FF2B5EF4-FFF2-40B4-BE49-F238E27FC236}">
                <a16:creationId xmlns:a16="http://schemas.microsoft.com/office/drawing/2014/main" id="{929E1F34-820F-165F-53FE-1FBE455F8356}"/>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868564" y="2791606"/>
            <a:ext cx="178642" cy="233608"/>
          </a:xfrm>
          <a:prstGeom prst="rect">
            <a:avLst/>
          </a:prstGeom>
        </p:spPr>
      </p:pic>
      <p:pic>
        <p:nvPicPr>
          <p:cNvPr id="60" name="Grafik 59" descr="Ein Bild, das rot, Herz enthält.&#10;&#10;Automatisch generierte Beschreibung">
            <a:extLst>
              <a:ext uri="{FF2B5EF4-FFF2-40B4-BE49-F238E27FC236}">
                <a16:creationId xmlns:a16="http://schemas.microsoft.com/office/drawing/2014/main" id="{06CE35CB-5586-589C-EC34-841C0A3C50E5}"/>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854886" y="2686457"/>
            <a:ext cx="178642" cy="233608"/>
          </a:xfrm>
          <a:prstGeom prst="rect">
            <a:avLst/>
          </a:prstGeom>
        </p:spPr>
      </p:pic>
      <p:pic>
        <p:nvPicPr>
          <p:cNvPr id="62" name="Grafik 61" descr="Ein Bild, das rot, Herz enthält.&#10;&#10;Automatisch generierte Beschreibung">
            <a:extLst>
              <a:ext uri="{FF2B5EF4-FFF2-40B4-BE49-F238E27FC236}">
                <a16:creationId xmlns:a16="http://schemas.microsoft.com/office/drawing/2014/main" id="{70363BA9-AB2F-0233-AE74-CC09E027A2AE}"/>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983323" y="3081546"/>
            <a:ext cx="178642" cy="233608"/>
          </a:xfrm>
          <a:prstGeom prst="rect">
            <a:avLst/>
          </a:prstGeom>
        </p:spPr>
      </p:pic>
      <p:pic>
        <p:nvPicPr>
          <p:cNvPr id="63" name="Grafik 62" descr="Ein Bild, das rot, Herz enthält.&#10;&#10;Automatisch generierte Beschreibung">
            <a:extLst>
              <a:ext uri="{FF2B5EF4-FFF2-40B4-BE49-F238E27FC236}">
                <a16:creationId xmlns:a16="http://schemas.microsoft.com/office/drawing/2014/main" id="{5EF3C3ED-F395-1CC1-1916-395BEE15285B}"/>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617384" y="3565646"/>
            <a:ext cx="178642" cy="233608"/>
          </a:xfrm>
          <a:prstGeom prst="rect">
            <a:avLst/>
          </a:prstGeom>
        </p:spPr>
      </p:pic>
      <p:pic>
        <p:nvPicPr>
          <p:cNvPr id="194" name="Grafik 193" descr="Ein Bild, das rot, Herz enthält.&#10;&#10;Automatisch generierte Beschreibung">
            <a:extLst>
              <a:ext uri="{FF2B5EF4-FFF2-40B4-BE49-F238E27FC236}">
                <a16:creationId xmlns:a16="http://schemas.microsoft.com/office/drawing/2014/main" id="{692BA5BE-21CC-C7F3-41B8-EDF757EEB626}"/>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704009" y="3773105"/>
            <a:ext cx="178642" cy="233608"/>
          </a:xfrm>
          <a:prstGeom prst="rect">
            <a:avLst/>
          </a:prstGeom>
        </p:spPr>
      </p:pic>
      <p:pic>
        <p:nvPicPr>
          <p:cNvPr id="195" name="Grafik 194" descr="Ein Bild, das rot, Herz enthält.&#10;&#10;Automatisch generierte Beschreibung">
            <a:extLst>
              <a:ext uri="{FF2B5EF4-FFF2-40B4-BE49-F238E27FC236}">
                <a16:creationId xmlns:a16="http://schemas.microsoft.com/office/drawing/2014/main" id="{B70850B2-8FF4-9DE2-0FF0-F7883099C1F6}"/>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729721" y="3409313"/>
            <a:ext cx="178642" cy="233608"/>
          </a:xfrm>
          <a:prstGeom prst="rect">
            <a:avLst/>
          </a:prstGeom>
        </p:spPr>
      </p:pic>
      <p:pic>
        <p:nvPicPr>
          <p:cNvPr id="200" name="Grafik 199" descr="Ein Bild, das rot, Herz enthält.&#10;&#10;Automatisch generierte Beschreibung">
            <a:extLst>
              <a:ext uri="{FF2B5EF4-FFF2-40B4-BE49-F238E27FC236}">
                <a16:creationId xmlns:a16="http://schemas.microsoft.com/office/drawing/2014/main" id="{34584EF4-71A4-2BF2-48F7-16DE97F4A57D}"/>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414642" y="4295297"/>
            <a:ext cx="178642" cy="233608"/>
          </a:xfrm>
          <a:prstGeom prst="rect">
            <a:avLst/>
          </a:prstGeom>
        </p:spPr>
      </p:pic>
      <p:pic>
        <p:nvPicPr>
          <p:cNvPr id="201" name="Grafik 200" descr="Ein Bild, das rot, Herz enthält.&#10;&#10;Automatisch generierte Beschreibung">
            <a:extLst>
              <a:ext uri="{FF2B5EF4-FFF2-40B4-BE49-F238E27FC236}">
                <a16:creationId xmlns:a16="http://schemas.microsoft.com/office/drawing/2014/main" id="{7E209E13-9DBA-BB65-988E-1235629459D9}"/>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423719" y="4704817"/>
            <a:ext cx="178642" cy="233608"/>
          </a:xfrm>
          <a:prstGeom prst="rect">
            <a:avLst/>
          </a:prstGeom>
        </p:spPr>
      </p:pic>
      <p:pic>
        <p:nvPicPr>
          <p:cNvPr id="202" name="Grafik 201" descr="Ein Bild, das rot, Herz enthält.&#10;&#10;Automatisch generierte Beschreibung">
            <a:extLst>
              <a:ext uri="{FF2B5EF4-FFF2-40B4-BE49-F238E27FC236}">
                <a16:creationId xmlns:a16="http://schemas.microsoft.com/office/drawing/2014/main" id="{C497BF6B-C86B-9889-90EA-666B3BF81406}"/>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304026" y="5020442"/>
            <a:ext cx="178642" cy="233608"/>
          </a:xfrm>
          <a:prstGeom prst="rect">
            <a:avLst/>
          </a:prstGeom>
        </p:spPr>
      </p:pic>
      <p:pic>
        <p:nvPicPr>
          <p:cNvPr id="203" name="Grafik 202" descr="Ein Bild, das rot, Herz enthält.&#10;&#10;Automatisch generierte Beschreibung">
            <a:extLst>
              <a:ext uri="{FF2B5EF4-FFF2-40B4-BE49-F238E27FC236}">
                <a16:creationId xmlns:a16="http://schemas.microsoft.com/office/drawing/2014/main" id="{F23BB595-511C-F40D-C9A8-721B9FCA808D}"/>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632832" y="5154323"/>
            <a:ext cx="178642" cy="233608"/>
          </a:xfrm>
          <a:prstGeom prst="rect">
            <a:avLst/>
          </a:prstGeom>
        </p:spPr>
      </p:pic>
      <p:pic>
        <p:nvPicPr>
          <p:cNvPr id="204" name="Grafik 203" descr="Ein Bild, das rot, Herz enthält.&#10;&#10;Automatisch generierte Beschreibung">
            <a:extLst>
              <a:ext uri="{FF2B5EF4-FFF2-40B4-BE49-F238E27FC236}">
                <a16:creationId xmlns:a16="http://schemas.microsoft.com/office/drawing/2014/main" id="{57F98370-0704-6711-EBFE-6A2D2A652A78}"/>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282814" y="5559720"/>
            <a:ext cx="178642" cy="233608"/>
          </a:xfrm>
          <a:prstGeom prst="rect">
            <a:avLst/>
          </a:prstGeom>
        </p:spPr>
      </p:pic>
      <p:pic>
        <p:nvPicPr>
          <p:cNvPr id="207" name="Grafik 206" descr="Ein Bild, das rot, Herz enthält.&#10;&#10;Automatisch generierte Beschreibung">
            <a:extLst>
              <a:ext uri="{FF2B5EF4-FFF2-40B4-BE49-F238E27FC236}">
                <a16:creationId xmlns:a16="http://schemas.microsoft.com/office/drawing/2014/main" id="{74B796A5-23AA-0374-FA46-D1962F4AB172}"/>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5422254" y="5290685"/>
            <a:ext cx="178642" cy="233608"/>
          </a:xfrm>
          <a:prstGeom prst="rect">
            <a:avLst/>
          </a:prstGeom>
        </p:spPr>
      </p:pic>
      <p:pic>
        <p:nvPicPr>
          <p:cNvPr id="210" name="Grafik 209" descr="Ein Bild, das rot, Herz enthält.&#10;&#10;Automatisch generierte Beschreibung">
            <a:extLst>
              <a:ext uri="{FF2B5EF4-FFF2-40B4-BE49-F238E27FC236}">
                <a16:creationId xmlns:a16="http://schemas.microsoft.com/office/drawing/2014/main" id="{790A911B-FBCD-0283-620A-F3B7BD62F629}"/>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631084" y="5557047"/>
            <a:ext cx="178642" cy="233608"/>
          </a:xfrm>
          <a:prstGeom prst="rect">
            <a:avLst/>
          </a:prstGeom>
        </p:spPr>
      </p:pic>
      <p:sp>
        <p:nvSpPr>
          <p:cNvPr id="211" name="Textplatzhalter 14">
            <a:extLst>
              <a:ext uri="{FF2B5EF4-FFF2-40B4-BE49-F238E27FC236}">
                <a16:creationId xmlns:a16="http://schemas.microsoft.com/office/drawing/2014/main" id="{8B7D8B67-AD63-19E6-AD72-651FA1A4FC2B}"/>
              </a:ext>
            </a:extLst>
          </p:cNvPr>
          <p:cNvSpPr txBox="1">
            <a:spLocks/>
          </p:cNvSpPr>
          <p:nvPr/>
        </p:nvSpPr>
        <p:spPr>
          <a:xfrm>
            <a:off x="3392441" y="4401137"/>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Wurzburg</a:t>
            </a:r>
          </a:p>
        </p:txBody>
      </p:sp>
      <p:pic>
        <p:nvPicPr>
          <p:cNvPr id="212" name="Grafik 211" descr="Ein Bild, das rot, Herz enthält.&#10;&#10;Automatisch generierte Beschreibung">
            <a:extLst>
              <a:ext uri="{FF2B5EF4-FFF2-40B4-BE49-F238E27FC236}">
                <a16:creationId xmlns:a16="http://schemas.microsoft.com/office/drawing/2014/main" id="{1DDBFF65-1C33-FE6B-97B6-D11D8D90C570}"/>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952048" y="4512328"/>
            <a:ext cx="178642" cy="233608"/>
          </a:xfrm>
          <a:prstGeom prst="rect">
            <a:avLst/>
          </a:prstGeom>
        </p:spPr>
      </p:pic>
      <p:sp>
        <p:nvSpPr>
          <p:cNvPr id="213" name="Textplatzhalter 14">
            <a:extLst>
              <a:ext uri="{FF2B5EF4-FFF2-40B4-BE49-F238E27FC236}">
                <a16:creationId xmlns:a16="http://schemas.microsoft.com/office/drawing/2014/main" id="{D56A8998-D10D-596D-AE38-C69DB987F1A6}"/>
              </a:ext>
            </a:extLst>
          </p:cNvPr>
          <p:cNvSpPr txBox="1">
            <a:spLocks/>
          </p:cNvSpPr>
          <p:nvPr/>
        </p:nvSpPr>
        <p:spPr>
          <a:xfrm>
            <a:off x="2772566" y="4808016"/>
            <a:ext cx="613174"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Walldorf</a:t>
            </a:r>
          </a:p>
        </p:txBody>
      </p:sp>
      <p:sp>
        <p:nvSpPr>
          <p:cNvPr id="6" name="Textfeld 5">
            <a:extLst>
              <a:ext uri="{FF2B5EF4-FFF2-40B4-BE49-F238E27FC236}">
                <a16:creationId xmlns:a16="http://schemas.microsoft.com/office/drawing/2014/main" id="{986A14CD-02BE-24A7-6A1B-0E57816C84A6}"/>
              </a:ext>
            </a:extLst>
          </p:cNvPr>
          <p:cNvSpPr txBox="1"/>
          <p:nvPr/>
        </p:nvSpPr>
        <p:spPr>
          <a:xfrm>
            <a:off x="8773245" y="4608277"/>
            <a:ext cx="828000" cy="274418"/>
          </a:xfrm>
          <a:prstGeom prst="rect">
            <a:avLst/>
          </a:prstGeom>
          <a:solidFill>
            <a:schemeClr val="bg1"/>
          </a:solidFill>
        </p:spPr>
        <p:txBody>
          <a:bodyPr wrap="none" lIns="0" tIns="0" rIns="0" bIns="0" rtlCol="0" anchor="ctr" anchorCtr="0">
            <a:noAutofit/>
          </a:bodyPr>
          <a:lstStyle/>
          <a:p>
            <a:r>
              <a:rPr lang="de-DE" sz="4600" b="1" dirty="0">
                <a:blipFill dpi="0" rotWithShape="1">
                  <a:blip r:embed="rId14">
                    <a:extLst>
                      <a:ext uri="{28A0092B-C50C-407E-A947-70E740481C1C}">
                        <a14:useLocalDpi xmlns:a14="http://schemas.microsoft.com/office/drawing/2010/main" val="0"/>
                      </a:ext>
                    </a:extLst>
                  </a:blip>
                  <a:srcRect/>
                  <a:stretch>
                    <a:fillRect/>
                  </a:stretch>
                </a:blipFill>
                <a:latin typeface="Carnac ExtraBold" panose="02000503000000020004" pitchFamily="50" charset="0"/>
              </a:rPr>
              <a:t>974 </a:t>
            </a:r>
          </a:p>
        </p:txBody>
      </p:sp>
      <p:sp>
        <p:nvSpPr>
          <p:cNvPr id="7" name="Textfeld 6">
            <a:extLst>
              <a:ext uri="{FF2B5EF4-FFF2-40B4-BE49-F238E27FC236}">
                <a16:creationId xmlns:a16="http://schemas.microsoft.com/office/drawing/2014/main" id="{1EB13266-BB59-11E4-F88C-911E58EC4513}"/>
              </a:ext>
            </a:extLst>
          </p:cNvPr>
          <p:cNvSpPr txBox="1"/>
          <p:nvPr/>
        </p:nvSpPr>
        <p:spPr>
          <a:xfrm>
            <a:off x="8773245" y="2219237"/>
            <a:ext cx="828000" cy="274418"/>
          </a:xfrm>
          <a:prstGeom prst="rect">
            <a:avLst/>
          </a:prstGeom>
          <a:solidFill>
            <a:schemeClr val="bg1"/>
          </a:solidFill>
        </p:spPr>
        <p:txBody>
          <a:bodyPr wrap="none" lIns="0" tIns="0" rIns="0" bIns="0" rtlCol="0" anchor="ctr" anchorCtr="0">
            <a:noAutofit/>
          </a:bodyPr>
          <a:lstStyle/>
          <a:p>
            <a:r>
              <a:rPr lang="de-DE" sz="4600" b="1" dirty="0">
                <a:blipFill dpi="0" rotWithShape="1">
                  <a:blip r:embed="rId14">
                    <a:extLst>
                      <a:ext uri="{28A0092B-C50C-407E-A947-70E740481C1C}">
                        <a14:useLocalDpi xmlns:a14="http://schemas.microsoft.com/office/drawing/2010/main" val="0"/>
                      </a:ext>
                    </a:extLst>
                  </a:blip>
                  <a:srcRect/>
                  <a:stretch>
                    <a:fillRect/>
                  </a:stretch>
                </a:blipFill>
                <a:latin typeface="Carnac ExtraBold" panose="02000503000000020004" pitchFamily="50" charset="0"/>
              </a:rPr>
              <a:t>6,500 </a:t>
            </a:r>
          </a:p>
        </p:txBody>
      </p:sp>
      <p:sp>
        <p:nvSpPr>
          <p:cNvPr id="11" name="Textfeld 10">
            <a:extLst>
              <a:ext uri="{FF2B5EF4-FFF2-40B4-BE49-F238E27FC236}">
                <a16:creationId xmlns:a16="http://schemas.microsoft.com/office/drawing/2014/main" id="{E6B99317-6087-3979-EFA9-445FB62C38DB}"/>
              </a:ext>
            </a:extLst>
          </p:cNvPr>
          <p:cNvSpPr txBox="1"/>
          <p:nvPr/>
        </p:nvSpPr>
        <p:spPr>
          <a:xfrm>
            <a:off x="8773245" y="3440599"/>
            <a:ext cx="828000" cy="274418"/>
          </a:xfrm>
          <a:prstGeom prst="rect">
            <a:avLst/>
          </a:prstGeom>
          <a:solidFill>
            <a:schemeClr val="bg1"/>
          </a:solidFill>
        </p:spPr>
        <p:txBody>
          <a:bodyPr wrap="none" lIns="0" tIns="0" rIns="0" bIns="0" rtlCol="0" anchor="ctr" anchorCtr="0">
            <a:noAutofit/>
          </a:bodyPr>
          <a:lstStyle/>
          <a:p>
            <a:r>
              <a:rPr lang="de-DE" sz="4600" b="1" dirty="0">
                <a:blipFill dpi="0" rotWithShape="1">
                  <a:blip r:embed="rId14">
                    <a:extLst>
                      <a:ext uri="{28A0092B-C50C-407E-A947-70E740481C1C}">
                        <a14:useLocalDpi xmlns:a14="http://schemas.microsoft.com/office/drawing/2010/main" val="0"/>
                      </a:ext>
                    </a:extLst>
                  </a:blip>
                  <a:srcRect/>
                  <a:stretch>
                    <a:fillRect/>
                  </a:stretch>
                </a:blipFill>
                <a:latin typeface="Carnac ExtraBold" panose="02000503000000020004" pitchFamily="50" charset="0"/>
              </a:rPr>
              <a:t>24</a:t>
            </a:r>
          </a:p>
        </p:txBody>
      </p:sp>
      <p:sp>
        <p:nvSpPr>
          <p:cNvPr id="27" name="Textplatzhalter 14">
            <a:extLst>
              <a:ext uri="{FF2B5EF4-FFF2-40B4-BE49-F238E27FC236}">
                <a16:creationId xmlns:a16="http://schemas.microsoft.com/office/drawing/2014/main" id="{D8930A44-EE68-BC84-A9A6-90F5E31666FC}"/>
              </a:ext>
            </a:extLst>
          </p:cNvPr>
          <p:cNvSpPr txBox="1">
            <a:spLocks/>
          </p:cNvSpPr>
          <p:nvPr>
            <p:custDataLst>
              <p:tags r:id="rId2"/>
            </p:custDataLst>
          </p:nvPr>
        </p:nvSpPr>
        <p:spPr>
          <a:xfrm>
            <a:off x="3759724" y="3849762"/>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buClr>
                <a:srgbClr val="A01441"/>
              </a:buClr>
            </a:pPr>
            <a:r>
              <a:rPr lang="de-DE" sz="1200">
                <a:solidFill>
                  <a:prstClr val="black"/>
                </a:solidFill>
                <a:cs typeface="Calibri"/>
              </a:rPr>
              <a:t>Chemnitz</a:t>
            </a:r>
          </a:p>
        </p:txBody>
      </p:sp>
      <p:pic>
        <p:nvPicPr>
          <p:cNvPr id="28" name="Grafik 27" descr="Ein Bild, das rot, Herz enthält.&#10;&#10;Automatisch generierte Beschreibung">
            <a:extLst>
              <a:ext uri="{FF2B5EF4-FFF2-40B4-BE49-F238E27FC236}">
                <a16:creationId xmlns:a16="http://schemas.microsoft.com/office/drawing/2014/main" id="{A82E7586-9403-9D71-E17C-0A7B2742C3B1}"/>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5186564" y="3739503"/>
            <a:ext cx="178642" cy="233608"/>
          </a:xfrm>
          <a:prstGeom prst="rect">
            <a:avLst/>
          </a:prstGeom>
        </p:spPr>
      </p:pic>
      <p:pic>
        <p:nvPicPr>
          <p:cNvPr id="29" name="Grafik 28" descr="Ein Bild, das rot, Herz enthält.&#10;&#10;Automatisch generierte Beschreibung">
            <a:extLst>
              <a:ext uri="{FF2B5EF4-FFF2-40B4-BE49-F238E27FC236}">
                <a16:creationId xmlns:a16="http://schemas.microsoft.com/office/drawing/2014/main" id="{A02726D8-F923-195E-AFC3-0797CCBF115B}"/>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6058501" y="3521554"/>
            <a:ext cx="178642" cy="233608"/>
          </a:xfrm>
          <a:prstGeom prst="rect">
            <a:avLst/>
          </a:prstGeom>
        </p:spPr>
      </p:pic>
      <p:sp>
        <p:nvSpPr>
          <p:cNvPr id="37" name="Textplatzhalter 14">
            <a:extLst>
              <a:ext uri="{FF2B5EF4-FFF2-40B4-BE49-F238E27FC236}">
                <a16:creationId xmlns:a16="http://schemas.microsoft.com/office/drawing/2014/main" id="{A7A9FD6A-2FAC-74B9-669C-EF96ECF401DD}"/>
              </a:ext>
            </a:extLst>
          </p:cNvPr>
          <p:cNvSpPr txBox="1">
            <a:spLocks/>
          </p:cNvSpPr>
          <p:nvPr>
            <p:custDataLst>
              <p:tags r:id="rId3"/>
            </p:custDataLst>
          </p:nvPr>
        </p:nvSpPr>
        <p:spPr>
          <a:xfrm>
            <a:off x="6183093" y="3642998"/>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buClr>
                <a:srgbClr val="A01441"/>
              </a:buClr>
            </a:pPr>
            <a:r>
              <a:rPr lang="de-DE" sz="1200" dirty="0">
                <a:solidFill>
                  <a:prstClr val="black"/>
                </a:solidFill>
                <a:cs typeface="Calibri"/>
              </a:rPr>
              <a:t>Görlitz</a:t>
            </a:r>
          </a:p>
        </p:txBody>
      </p:sp>
      <p:sp>
        <p:nvSpPr>
          <p:cNvPr id="43" name="Textplatzhalter 14">
            <a:extLst>
              <a:ext uri="{FF2B5EF4-FFF2-40B4-BE49-F238E27FC236}">
                <a16:creationId xmlns:a16="http://schemas.microsoft.com/office/drawing/2014/main" id="{1700DFFC-05A1-E617-2782-C56296C98DC6}"/>
              </a:ext>
            </a:extLst>
          </p:cNvPr>
          <p:cNvSpPr txBox="1">
            <a:spLocks/>
          </p:cNvSpPr>
          <p:nvPr>
            <p:custDataLst>
              <p:tags r:id="rId4"/>
            </p:custDataLst>
          </p:nvPr>
        </p:nvSpPr>
        <p:spPr>
          <a:xfrm>
            <a:off x="5627374" y="3857064"/>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buClr>
                <a:srgbClr val="A01441"/>
              </a:buClr>
            </a:pPr>
            <a:r>
              <a:rPr lang="de-DE" sz="1200" dirty="0">
                <a:solidFill>
                  <a:prstClr val="black"/>
                </a:solidFill>
                <a:cs typeface="Calibri"/>
              </a:rPr>
              <a:t>Dresden</a:t>
            </a:r>
          </a:p>
        </p:txBody>
      </p:sp>
      <p:pic>
        <p:nvPicPr>
          <p:cNvPr id="45" name="Grafik 44" descr="Ein Bild, das rot, Herz enthält.&#10;&#10;Automatisch generierte Beschreibung">
            <a:extLst>
              <a:ext uri="{FF2B5EF4-FFF2-40B4-BE49-F238E27FC236}">
                <a16:creationId xmlns:a16="http://schemas.microsoft.com/office/drawing/2014/main" id="{1DE2D6A8-A905-BE3B-F3EF-7210D386D877}"/>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5580027" y="3644775"/>
            <a:ext cx="178642" cy="233608"/>
          </a:xfrm>
          <a:prstGeom prst="rect">
            <a:avLst/>
          </a:prstGeom>
        </p:spPr>
      </p:pic>
      <p:pic>
        <p:nvPicPr>
          <p:cNvPr id="3" name="Grafik 2" descr="Ein Bild, das rot, Herz enthält.&#10;&#10;Automatisch generierte Beschreibung">
            <a:extLst>
              <a:ext uri="{FF2B5EF4-FFF2-40B4-BE49-F238E27FC236}">
                <a16:creationId xmlns:a16="http://schemas.microsoft.com/office/drawing/2014/main" id="{0CB464F3-F36D-FA83-D551-32B339EDAA93}"/>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211963" y="2942828"/>
            <a:ext cx="178642" cy="233608"/>
          </a:xfrm>
          <a:prstGeom prst="rect">
            <a:avLst/>
          </a:prstGeom>
        </p:spPr>
      </p:pic>
      <p:sp>
        <p:nvSpPr>
          <p:cNvPr id="12" name="Textplatzhalter 14">
            <a:extLst>
              <a:ext uri="{FF2B5EF4-FFF2-40B4-BE49-F238E27FC236}">
                <a16:creationId xmlns:a16="http://schemas.microsoft.com/office/drawing/2014/main" id="{63CBB086-4B2F-5984-47FA-F4D4DAA3C578}"/>
              </a:ext>
            </a:extLst>
          </p:cNvPr>
          <p:cNvSpPr txBox="1">
            <a:spLocks/>
          </p:cNvSpPr>
          <p:nvPr>
            <p:custDataLst>
              <p:tags r:id="rId5"/>
            </p:custDataLst>
          </p:nvPr>
        </p:nvSpPr>
        <p:spPr>
          <a:xfrm>
            <a:off x="3427713" y="3000523"/>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latin typeface="+mj-lt"/>
                <a:cs typeface="Calibri"/>
              </a:rPr>
              <a:t>Versmold</a:t>
            </a:r>
          </a:p>
        </p:txBody>
      </p:sp>
      <p:sp>
        <p:nvSpPr>
          <p:cNvPr id="14" name="Textplatzhalter 14">
            <a:extLst>
              <a:ext uri="{FF2B5EF4-FFF2-40B4-BE49-F238E27FC236}">
                <a16:creationId xmlns:a16="http://schemas.microsoft.com/office/drawing/2014/main" id="{15177EDF-B810-0597-0FE2-40C6E6782E84}"/>
              </a:ext>
            </a:extLst>
          </p:cNvPr>
          <p:cNvSpPr txBox="1">
            <a:spLocks/>
          </p:cNvSpPr>
          <p:nvPr>
            <p:custDataLst>
              <p:tags r:id="rId6"/>
            </p:custDataLst>
          </p:nvPr>
        </p:nvSpPr>
        <p:spPr>
          <a:xfrm>
            <a:off x="2617383" y="1632986"/>
            <a:ext cx="1334803" cy="29154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r>
              <a:rPr lang="de-DE" sz="1200" dirty="0">
                <a:latin typeface="+mj-lt"/>
                <a:cs typeface="Calibri"/>
              </a:rPr>
              <a:t>Wilhelmshaven</a:t>
            </a:r>
          </a:p>
        </p:txBody>
      </p:sp>
      <p:pic>
        <p:nvPicPr>
          <p:cNvPr id="15" name="Grafik 14" descr="Ein Bild, das rot, Herz enthält.&#10;&#10;Automatisch generierte Beschreibung">
            <a:extLst>
              <a:ext uri="{FF2B5EF4-FFF2-40B4-BE49-F238E27FC236}">
                <a16:creationId xmlns:a16="http://schemas.microsoft.com/office/drawing/2014/main" id="{C8F5DCE0-E6CD-F66A-2907-8A8281E360AA}"/>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190033" y="1903450"/>
            <a:ext cx="178642" cy="233608"/>
          </a:xfrm>
          <a:prstGeom prst="rect">
            <a:avLst/>
          </a:prstGeom>
        </p:spPr>
      </p:pic>
      <p:sp>
        <p:nvSpPr>
          <p:cNvPr id="22" name="Textplatzhalter 14">
            <a:extLst>
              <a:ext uri="{FF2B5EF4-FFF2-40B4-BE49-F238E27FC236}">
                <a16:creationId xmlns:a16="http://schemas.microsoft.com/office/drawing/2014/main" id="{7A70D678-33E6-E052-4187-4F6EB7D1CF3F}"/>
              </a:ext>
            </a:extLst>
          </p:cNvPr>
          <p:cNvSpPr txBox="1">
            <a:spLocks/>
          </p:cNvSpPr>
          <p:nvPr/>
        </p:nvSpPr>
        <p:spPr>
          <a:xfrm>
            <a:off x="2690379" y="4621328"/>
            <a:ext cx="722464"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Heidelberg</a:t>
            </a:r>
          </a:p>
        </p:txBody>
      </p:sp>
      <p:pic>
        <p:nvPicPr>
          <p:cNvPr id="41" name="Grafik 40" descr="Ein Bild, das rot, Herz enthält.&#10;&#10;Automatisch generierte Beschreibung">
            <a:extLst>
              <a:ext uri="{FF2B5EF4-FFF2-40B4-BE49-F238E27FC236}">
                <a16:creationId xmlns:a16="http://schemas.microsoft.com/office/drawing/2014/main" id="{29E94C47-476F-A2AB-ED40-2BD8508D10F1}"/>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462578" y="4720823"/>
            <a:ext cx="178642" cy="233608"/>
          </a:xfrm>
          <a:prstGeom prst="rect">
            <a:avLst/>
          </a:prstGeom>
        </p:spPr>
      </p:pic>
      <p:pic>
        <p:nvPicPr>
          <p:cNvPr id="192" name="Grafik 191" descr="Ein Bild, das rot, Herz enthält.&#10;&#10;Automatisch generierte Beschreibung">
            <a:extLst>
              <a:ext uri="{FF2B5EF4-FFF2-40B4-BE49-F238E27FC236}">
                <a16:creationId xmlns:a16="http://schemas.microsoft.com/office/drawing/2014/main" id="{AF5FF727-AB78-9390-52BD-41156543CEA7}"/>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414642" y="4759499"/>
            <a:ext cx="178642" cy="233608"/>
          </a:xfrm>
          <a:prstGeom prst="rect">
            <a:avLst/>
          </a:prstGeom>
        </p:spPr>
      </p:pic>
    </p:spTree>
    <p:extLst>
      <p:ext uri="{BB962C8B-B14F-4D97-AF65-F5344CB8AC3E}">
        <p14:creationId xmlns:p14="http://schemas.microsoft.com/office/powerpoint/2010/main" val="3555659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platzhalter 16">
            <a:extLst>
              <a:ext uri="{FF2B5EF4-FFF2-40B4-BE49-F238E27FC236}">
                <a16:creationId xmlns:a16="http://schemas.microsoft.com/office/drawing/2014/main" id="{F2B14BDE-C564-957A-5B85-09231DE2E9D2}"/>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11" name="Titel 10">
            <a:extLst>
              <a:ext uri="{FF2B5EF4-FFF2-40B4-BE49-F238E27FC236}">
                <a16:creationId xmlns:a16="http://schemas.microsoft.com/office/drawing/2014/main" id="{0AEBF549-0BD2-EA22-A63C-778F0B485C9E}"/>
              </a:ext>
            </a:extLst>
          </p:cNvPr>
          <p:cNvSpPr>
            <a:spLocks noGrp="1"/>
          </p:cNvSpPr>
          <p:nvPr>
            <p:ph type="title"/>
          </p:nvPr>
        </p:nvSpPr>
        <p:spPr>
          <a:xfrm>
            <a:off x="623888" y="620713"/>
            <a:ext cx="9488833" cy="738664"/>
          </a:xfrm>
        </p:spPr>
        <p:txBody>
          <a:bodyPr/>
          <a:lstStyle/>
          <a:p>
            <a:r>
              <a:rPr lang="en-US" dirty="0"/>
              <a:t>msg consistently receives </a:t>
            </a:r>
            <a:r>
              <a:rPr lang="en-US" b="1" dirty="0"/>
              <a:t>awards</a:t>
            </a:r>
            <a:r>
              <a:rPr lang="en-US" dirty="0"/>
              <a:t> in external market comparisons and partner competitions</a:t>
            </a:r>
          </a:p>
        </p:txBody>
      </p:sp>
      <p:sp>
        <p:nvSpPr>
          <p:cNvPr id="3" name="Fußzeilenplatzhalter 1">
            <a:extLst>
              <a:ext uri="{FF2B5EF4-FFF2-40B4-BE49-F238E27FC236}">
                <a16:creationId xmlns:a16="http://schemas.microsoft.com/office/drawing/2014/main" id="{9C935014-1697-B4AB-D5AA-E5104870D351}"/>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6</a:t>
            </a:fld>
            <a:endParaRPr lang="de-DE"/>
          </a:p>
        </p:txBody>
      </p:sp>
      <p:sp>
        <p:nvSpPr>
          <p:cNvPr id="212" name="Textplatzhalter 14">
            <a:extLst>
              <a:ext uri="{FF2B5EF4-FFF2-40B4-BE49-F238E27FC236}">
                <a16:creationId xmlns:a16="http://schemas.microsoft.com/office/drawing/2014/main" id="{ED2F8396-D79F-5F62-8BE3-DD232906386B}"/>
              </a:ext>
            </a:extLst>
          </p:cNvPr>
          <p:cNvSpPr txBox="1">
            <a:spLocks/>
          </p:cNvSpPr>
          <p:nvPr/>
        </p:nvSpPr>
        <p:spPr>
          <a:xfrm>
            <a:off x="623888" y="4352727"/>
            <a:ext cx="5111749" cy="50302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en-US" sz="1400">
                <a:solidFill>
                  <a:srgbClr val="A01441"/>
                </a:solidFill>
                <a:cs typeface="Calibri"/>
              </a:rPr>
              <a:t>As the only company in the top 25 since </a:t>
            </a:r>
            <a:br>
              <a:rPr lang="en-US" sz="1400">
                <a:solidFill>
                  <a:srgbClr val="A01441"/>
                </a:solidFill>
                <a:cs typeface="Calibri"/>
              </a:rPr>
            </a:br>
            <a:r>
              <a:rPr lang="en-US" sz="1400">
                <a:solidFill>
                  <a:srgbClr val="A01441"/>
                </a:solidFill>
                <a:cs typeface="Calibri"/>
              </a:rPr>
              <a:t>the start of the survey. </a:t>
            </a:r>
            <a:endParaRPr lang="de-DE" sz="1400">
              <a:solidFill>
                <a:srgbClr val="A01441"/>
              </a:solidFill>
              <a:cs typeface="Calibri"/>
            </a:endParaRPr>
          </a:p>
        </p:txBody>
      </p:sp>
      <p:sp>
        <p:nvSpPr>
          <p:cNvPr id="217" name="Textfeld 216">
            <a:extLst>
              <a:ext uri="{FF2B5EF4-FFF2-40B4-BE49-F238E27FC236}">
                <a16:creationId xmlns:a16="http://schemas.microsoft.com/office/drawing/2014/main" id="{0E4B8388-5F72-0CBF-1155-16FBDF54CB56}"/>
              </a:ext>
            </a:extLst>
          </p:cNvPr>
          <p:cNvSpPr txBox="1"/>
          <p:nvPr/>
        </p:nvSpPr>
        <p:spPr>
          <a:xfrm>
            <a:off x="623888" y="5005256"/>
            <a:ext cx="1080000" cy="1080000"/>
          </a:xfrm>
          <a:prstGeom prst="ellipse">
            <a:avLst/>
          </a:prstGeom>
          <a:solidFill>
            <a:schemeClr val="bg2">
              <a:lumMod val="50000"/>
            </a:schemeClr>
          </a:solidFill>
          <a:ln w="50800">
            <a:noFill/>
          </a:ln>
        </p:spPr>
        <p:txBody>
          <a:bodyPr wrap="none" lIns="0" tIns="0" rIns="0" bIns="0" rtlCol="0" anchor="ctr">
            <a:noAutofit/>
          </a:bodyPr>
          <a:lstStyle/>
          <a:p>
            <a:pPr algn="ctr">
              <a:lnSpc>
                <a:spcPts val="2300"/>
              </a:lnSpc>
              <a:buClr>
                <a:srgbClr val="A01441"/>
              </a:buClr>
              <a:defRPr/>
            </a:pPr>
            <a:r>
              <a:rPr lang="de-DE" dirty="0">
                <a:solidFill>
                  <a:schemeClr val="bg1"/>
                </a:solidFill>
                <a:cs typeface="Calibri Light"/>
              </a:rPr>
              <a:t>2026</a:t>
            </a:r>
            <a:br>
              <a:rPr lang="de-DE" dirty="0">
                <a:solidFill>
                  <a:schemeClr val="bg1"/>
                </a:solidFill>
                <a:cs typeface="Calibri Light"/>
              </a:rPr>
            </a:br>
            <a:r>
              <a:rPr kumimoji="0" lang="de-DE" sz="2400" u="none" strike="noStrike" kern="1200" cap="none" spc="0" normalizeH="0" baseline="0" noProof="0" dirty="0">
                <a:ln>
                  <a:noFill/>
                </a:ln>
                <a:solidFill>
                  <a:schemeClr val="bg1"/>
                </a:solidFill>
                <a:effectLst/>
                <a:uLnTx/>
                <a:uFillTx/>
                <a:ea typeface="+mn-ea"/>
                <a:cs typeface="Calibri Light"/>
              </a:rPr>
              <a:t>Place</a:t>
            </a:r>
            <a:endParaRPr lang="en-US" dirty="0">
              <a:solidFill>
                <a:schemeClr val="bg1"/>
              </a:solidFill>
            </a:endParaRPr>
          </a:p>
          <a:p>
            <a:pPr algn="ctr">
              <a:lnSpc>
                <a:spcPts val="2300"/>
              </a:lnSpc>
              <a:defRPr/>
            </a:pPr>
            <a:r>
              <a:rPr lang="de-DE" sz="2400" dirty="0">
                <a:solidFill>
                  <a:schemeClr val="bg1"/>
                </a:solidFill>
                <a:cs typeface="Calibri Light"/>
              </a:rPr>
              <a:t>5</a:t>
            </a:r>
            <a:endParaRPr lang="de-DE" dirty="0">
              <a:solidFill>
                <a:schemeClr val="bg1"/>
              </a:solidFill>
            </a:endParaRPr>
          </a:p>
        </p:txBody>
      </p:sp>
      <p:cxnSp>
        <p:nvCxnSpPr>
          <p:cNvPr id="205" name="Gerade Verbindung 204">
            <a:extLst>
              <a:ext uri="{FF2B5EF4-FFF2-40B4-BE49-F238E27FC236}">
                <a16:creationId xmlns:a16="http://schemas.microsoft.com/office/drawing/2014/main" id="{1A108ED2-2646-31E0-FF85-E9E5921A2B17}"/>
              </a:ext>
            </a:extLst>
          </p:cNvPr>
          <p:cNvCxnSpPr>
            <a:cxnSpLocks/>
          </p:cNvCxnSpPr>
          <p:nvPr/>
        </p:nvCxnSpPr>
        <p:spPr>
          <a:xfrm>
            <a:off x="623888" y="4148552"/>
            <a:ext cx="11233150"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F3688F9-C132-602A-B21C-9623A7F84F9C}"/>
              </a:ext>
            </a:extLst>
          </p:cNvPr>
          <p:cNvPicPr>
            <a:picLocks noChangeAspect="1"/>
          </p:cNvPicPr>
          <p:nvPr/>
        </p:nvPicPr>
        <p:blipFill>
          <a:blip r:embed="rId6"/>
          <a:stretch>
            <a:fillRect/>
          </a:stretch>
        </p:blipFill>
        <p:spPr>
          <a:xfrm>
            <a:off x="628968" y="2920402"/>
            <a:ext cx="3426773" cy="1046718"/>
          </a:xfrm>
          <a:prstGeom prst="rect">
            <a:avLst/>
          </a:prstGeom>
        </p:spPr>
      </p:pic>
      <p:pic>
        <p:nvPicPr>
          <p:cNvPr id="15" name="Grafik 14">
            <a:extLst>
              <a:ext uri="{FF2B5EF4-FFF2-40B4-BE49-F238E27FC236}">
                <a16:creationId xmlns:a16="http://schemas.microsoft.com/office/drawing/2014/main" id="{70C14BCF-A282-EB1A-40DC-7E85691D37C1}"/>
              </a:ext>
            </a:extLst>
          </p:cNvPr>
          <p:cNvPicPr>
            <a:picLocks noChangeAspect="1"/>
          </p:cNvPicPr>
          <p:nvPr/>
        </p:nvPicPr>
        <p:blipFill>
          <a:blip r:embed="rId7"/>
          <a:srcRect/>
          <a:stretch/>
        </p:blipFill>
        <p:spPr>
          <a:xfrm>
            <a:off x="4889809" y="2117283"/>
            <a:ext cx="755329" cy="1093267"/>
          </a:xfrm>
          <a:prstGeom prst="rect">
            <a:avLst/>
          </a:prstGeom>
        </p:spPr>
      </p:pic>
      <p:sp>
        <p:nvSpPr>
          <p:cNvPr id="18" name="Textplatzhalter 14">
            <a:extLst>
              <a:ext uri="{FF2B5EF4-FFF2-40B4-BE49-F238E27FC236}">
                <a16:creationId xmlns:a16="http://schemas.microsoft.com/office/drawing/2014/main" id="{BC7594A0-E73D-E31B-C3E0-13055AA3D5EC}"/>
              </a:ext>
            </a:extLst>
          </p:cNvPr>
          <p:cNvSpPr txBox="1">
            <a:spLocks/>
          </p:cNvSpPr>
          <p:nvPr/>
        </p:nvSpPr>
        <p:spPr>
          <a:xfrm>
            <a:off x="4883915" y="3300903"/>
            <a:ext cx="738756" cy="153888"/>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Digital Core</a:t>
            </a:r>
          </a:p>
        </p:txBody>
      </p:sp>
      <p:grpSp>
        <p:nvGrpSpPr>
          <p:cNvPr id="19" name="Group 6">
            <a:extLst>
              <a:ext uri="{FF2B5EF4-FFF2-40B4-BE49-F238E27FC236}">
                <a16:creationId xmlns:a16="http://schemas.microsoft.com/office/drawing/2014/main" id="{22373121-B889-681B-33CC-8393D1161388}"/>
              </a:ext>
            </a:extLst>
          </p:cNvPr>
          <p:cNvGrpSpPr/>
          <p:nvPr/>
        </p:nvGrpSpPr>
        <p:grpSpPr>
          <a:xfrm>
            <a:off x="6078027" y="2114917"/>
            <a:ext cx="757863" cy="1801539"/>
            <a:chOff x="7392678" y="2114917"/>
            <a:chExt cx="757863" cy="1801539"/>
          </a:xfrm>
        </p:grpSpPr>
        <p:pic>
          <p:nvPicPr>
            <p:cNvPr id="20" name="Grafik 13">
              <a:extLst>
                <a:ext uri="{FF2B5EF4-FFF2-40B4-BE49-F238E27FC236}">
                  <a16:creationId xmlns:a16="http://schemas.microsoft.com/office/drawing/2014/main" id="{C06EA42E-2D9D-BB64-4AEF-B82786F878D8}"/>
                </a:ext>
              </a:extLst>
            </p:cNvPr>
            <p:cNvPicPr>
              <a:picLocks noChangeAspect="1"/>
            </p:cNvPicPr>
            <p:nvPr/>
          </p:nvPicPr>
          <p:blipFill>
            <a:blip r:embed="rId8"/>
            <a:stretch>
              <a:fillRect/>
            </a:stretch>
          </p:blipFill>
          <p:spPr>
            <a:xfrm>
              <a:off x="7401831" y="2114917"/>
              <a:ext cx="748710" cy="1094932"/>
            </a:xfrm>
            <a:prstGeom prst="rect">
              <a:avLst/>
            </a:prstGeom>
          </p:spPr>
        </p:pic>
        <p:sp>
          <p:nvSpPr>
            <p:cNvPr id="21" name="Textplatzhalter 14">
              <a:extLst>
                <a:ext uri="{FF2B5EF4-FFF2-40B4-BE49-F238E27FC236}">
                  <a16:creationId xmlns:a16="http://schemas.microsoft.com/office/drawing/2014/main" id="{029221B3-7544-AADD-E1B0-98D332EBADFB}"/>
                </a:ext>
              </a:extLst>
            </p:cNvPr>
            <p:cNvSpPr txBox="1">
              <a:spLocks/>
            </p:cNvSpPr>
            <p:nvPr/>
          </p:nvSpPr>
          <p:spPr>
            <a:xfrm>
              <a:off x="7392678" y="3300903"/>
              <a:ext cx="738756" cy="61555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Partner </a:t>
              </a:r>
              <a:r>
                <a:rPr lang="de-DE" sz="1000" err="1">
                  <a:cs typeface="Calibri"/>
                </a:rPr>
                <a:t>Application</a:t>
              </a:r>
              <a:r>
                <a:rPr lang="de-DE" sz="1000">
                  <a:cs typeface="Calibri"/>
                </a:rPr>
                <a:t> Industry Cloud</a:t>
              </a:r>
            </a:p>
          </p:txBody>
        </p:sp>
      </p:grpSp>
      <p:grpSp>
        <p:nvGrpSpPr>
          <p:cNvPr id="22" name="Group 7">
            <a:extLst>
              <a:ext uri="{FF2B5EF4-FFF2-40B4-BE49-F238E27FC236}">
                <a16:creationId xmlns:a16="http://schemas.microsoft.com/office/drawing/2014/main" id="{0C45F687-FC2F-269C-CCD1-F301F372FEC3}"/>
              </a:ext>
            </a:extLst>
          </p:cNvPr>
          <p:cNvGrpSpPr/>
          <p:nvPr/>
        </p:nvGrpSpPr>
        <p:grpSpPr>
          <a:xfrm>
            <a:off x="8465082" y="2144225"/>
            <a:ext cx="747805" cy="1618343"/>
            <a:chOff x="8589108" y="2144225"/>
            <a:chExt cx="747805" cy="1618343"/>
          </a:xfrm>
        </p:grpSpPr>
        <p:pic>
          <p:nvPicPr>
            <p:cNvPr id="23" name="Grafik 22">
              <a:extLst>
                <a:ext uri="{FF2B5EF4-FFF2-40B4-BE49-F238E27FC236}">
                  <a16:creationId xmlns:a16="http://schemas.microsoft.com/office/drawing/2014/main" id="{D75B9222-270D-5B86-ACE0-4251DBE6B5DE}"/>
                </a:ext>
              </a:extLst>
            </p:cNvPr>
            <p:cNvPicPr>
              <a:picLocks noChangeAspect="1"/>
            </p:cNvPicPr>
            <p:nvPr/>
          </p:nvPicPr>
          <p:blipFill>
            <a:blip r:embed="rId9" cstate="screen">
              <a:alphaModFix/>
              <a:extLst>
                <a:ext uri="{28A0092B-C50C-407E-A947-70E740481C1C}">
                  <a14:useLocalDpi xmlns:a14="http://schemas.microsoft.com/office/drawing/2010/main" val="0"/>
                </a:ext>
              </a:extLst>
            </a:blip>
            <a:srcRect/>
            <a:stretch>
              <a:fillRect/>
            </a:stretch>
          </p:blipFill>
          <p:spPr bwMode="auto">
            <a:xfrm>
              <a:off x="8598156" y="2144225"/>
              <a:ext cx="738757" cy="1067792"/>
            </a:xfrm>
            <a:prstGeom prst="rect">
              <a:avLst/>
            </a:prstGeom>
            <a:noFill/>
            <a:ln>
              <a:noFill/>
            </a:ln>
          </p:spPr>
        </p:pic>
        <p:sp>
          <p:nvSpPr>
            <p:cNvPr id="24" name="Textplatzhalter 14">
              <a:extLst>
                <a:ext uri="{FF2B5EF4-FFF2-40B4-BE49-F238E27FC236}">
                  <a16:creationId xmlns:a16="http://schemas.microsoft.com/office/drawing/2014/main" id="{53825777-1ECF-7024-28AF-839BD832A2CB}"/>
                </a:ext>
              </a:extLst>
            </p:cNvPr>
            <p:cNvSpPr txBox="1">
              <a:spLocks/>
            </p:cNvSpPr>
            <p:nvPr/>
          </p:nvSpPr>
          <p:spPr>
            <a:xfrm>
              <a:off x="8589108" y="3300903"/>
              <a:ext cx="738756"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err="1">
                  <a:cs typeface="Calibri"/>
                </a:rPr>
                <a:t>Platforms</a:t>
              </a:r>
              <a:r>
                <a:rPr lang="de-DE" sz="1000">
                  <a:cs typeface="Calibri"/>
                </a:rPr>
                <a:t> &amp; Technology</a:t>
              </a:r>
            </a:p>
            <a:p>
              <a:pPr>
                <a:lnSpc>
                  <a:spcPts val="1200"/>
                </a:lnSpc>
              </a:pPr>
              <a:r>
                <a:rPr lang="de-DE" sz="1000">
                  <a:cs typeface="Calibri"/>
                </a:rPr>
                <a:t>(Cloud)</a:t>
              </a:r>
            </a:p>
          </p:txBody>
        </p:sp>
      </p:grpSp>
      <p:grpSp>
        <p:nvGrpSpPr>
          <p:cNvPr id="25" name="Group 9">
            <a:extLst>
              <a:ext uri="{FF2B5EF4-FFF2-40B4-BE49-F238E27FC236}">
                <a16:creationId xmlns:a16="http://schemas.microsoft.com/office/drawing/2014/main" id="{8123B623-B86D-FBA4-7623-AAB8FF05EC86}"/>
              </a:ext>
            </a:extLst>
          </p:cNvPr>
          <p:cNvGrpSpPr/>
          <p:nvPr/>
        </p:nvGrpSpPr>
        <p:grpSpPr>
          <a:xfrm>
            <a:off x="9644144" y="2144225"/>
            <a:ext cx="747700" cy="1618343"/>
            <a:chOff x="9775768" y="2144225"/>
            <a:chExt cx="747700" cy="1618343"/>
          </a:xfrm>
        </p:grpSpPr>
        <p:pic>
          <p:nvPicPr>
            <p:cNvPr id="26" name="Grafik 25">
              <a:extLst>
                <a:ext uri="{FF2B5EF4-FFF2-40B4-BE49-F238E27FC236}">
                  <a16:creationId xmlns:a16="http://schemas.microsoft.com/office/drawing/2014/main" id="{5E93878D-4486-5CF2-7F1E-178DB6E11BA3}"/>
                </a:ext>
              </a:extLst>
            </p:cNvPr>
            <p:cNvPicPr>
              <a:picLocks noChangeAspect="1"/>
            </p:cNvPicPr>
            <p:nvPr/>
          </p:nvPicPr>
          <p:blipFill>
            <a:blip r:embed="rId9" cstate="screen">
              <a:alphaModFix/>
              <a:extLst>
                <a:ext uri="{28A0092B-C50C-407E-A947-70E740481C1C}">
                  <a14:useLocalDpi xmlns:a14="http://schemas.microsoft.com/office/drawing/2010/main" val="0"/>
                </a:ext>
              </a:extLst>
            </a:blip>
            <a:srcRect/>
            <a:stretch>
              <a:fillRect/>
            </a:stretch>
          </p:blipFill>
          <p:spPr bwMode="auto">
            <a:xfrm>
              <a:off x="9784711" y="2144225"/>
              <a:ext cx="738757" cy="1067792"/>
            </a:xfrm>
            <a:prstGeom prst="rect">
              <a:avLst/>
            </a:prstGeom>
            <a:noFill/>
            <a:ln>
              <a:noFill/>
            </a:ln>
          </p:spPr>
        </p:pic>
        <p:sp>
          <p:nvSpPr>
            <p:cNvPr id="27" name="Textplatzhalter 14">
              <a:extLst>
                <a:ext uri="{FF2B5EF4-FFF2-40B4-BE49-F238E27FC236}">
                  <a16:creationId xmlns:a16="http://schemas.microsoft.com/office/drawing/2014/main" id="{05B1F1C3-2E60-AAAC-0859-1807C38A7CDE}"/>
                </a:ext>
              </a:extLst>
            </p:cNvPr>
            <p:cNvSpPr txBox="1">
              <a:spLocks/>
            </p:cNvSpPr>
            <p:nvPr/>
          </p:nvSpPr>
          <p:spPr>
            <a:xfrm>
              <a:off x="9775768" y="3300903"/>
              <a:ext cx="738756"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err="1">
                  <a:cs typeface="Calibri"/>
                </a:rPr>
                <a:t>Platforms</a:t>
              </a:r>
              <a:r>
                <a:rPr lang="de-DE" sz="1000">
                  <a:cs typeface="Calibri"/>
                </a:rPr>
                <a:t> &amp; Technology</a:t>
              </a:r>
            </a:p>
            <a:p>
              <a:pPr>
                <a:lnSpc>
                  <a:spcPts val="1200"/>
                </a:lnSpc>
              </a:pPr>
              <a:r>
                <a:rPr lang="de-DE" sz="1000">
                  <a:cs typeface="Calibri"/>
                </a:rPr>
                <a:t>(On </a:t>
              </a:r>
              <a:r>
                <a:rPr lang="de-DE" sz="1000" err="1">
                  <a:cs typeface="Calibri"/>
                </a:rPr>
                <a:t>Premise</a:t>
              </a:r>
              <a:r>
                <a:rPr lang="de-DE" sz="1000">
                  <a:cs typeface="Calibri"/>
                </a:rPr>
                <a:t>)</a:t>
              </a:r>
            </a:p>
          </p:txBody>
        </p:sp>
      </p:grpSp>
      <p:grpSp>
        <p:nvGrpSpPr>
          <p:cNvPr id="28" name="Group 11">
            <a:extLst>
              <a:ext uri="{FF2B5EF4-FFF2-40B4-BE49-F238E27FC236}">
                <a16:creationId xmlns:a16="http://schemas.microsoft.com/office/drawing/2014/main" id="{FC264948-CE2C-4135-3515-5C1946536E6E}"/>
              </a:ext>
            </a:extLst>
          </p:cNvPr>
          <p:cNvGrpSpPr/>
          <p:nvPr/>
        </p:nvGrpSpPr>
        <p:grpSpPr>
          <a:xfrm>
            <a:off x="10823099" y="2144225"/>
            <a:ext cx="739687" cy="1764611"/>
            <a:chOff x="10971266" y="2144225"/>
            <a:chExt cx="739687" cy="1764611"/>
          </a:xfrm>
        </p:grpSpPr>
        <p:pic>
          <p:nvPicPr>
            <p:cNvPr id="29" name="Grafik 28">
              <a:extLst>
                <a:ext uri="{FF2B5EF4-FFF2-40B4-BE49-F238E27FC236}">
                  <a16:creationId xmlns:a16="http://schemas.microsoft.com/office/drawing/2014/main" id="{0D508CFD-59DE-5CB9-A4C4-6210744230F7}"/>
                </a:ext>
              </a:extLst>
            </p:cNvPr>
            <p:cNvPicPr>
              <a:picLocks noChangeAspect="1"/>
            </p:cNvPicPr>
            <p:nvPr/>
          </p:nvPicPr>
          <p:blipFill>
            <a:blip r:embed="rId9" cstate="screen">
              <a:alphaModFix/>
              <a:extLst>
                <a:ext uri="{28A0092B-C50C-407E-A947-70E740481C1C}">
                  <a14:useLocalDpi xmlns:a14="http://schemas.microsoft.com/office/drawing/2010/main" val="0"/>
                </a:ext>
              </a:extLst>
            </a:blip>
            <a:srcRect/>
            <a:stretch>
              <a:fillRect/>
            </a:stretch>
          </p:blipFill>
          <p:spPr bwMode="auto">
            <a:xfrm>
              <a:off x="10971266" y="2144225"/>
              <a:ext cx="738757" cy="1067792"/>
            </a:xfrm>
            <a:prstGeom prst="rect">
              <a:avLst/>
            </a:prstGeom>
            <a:noFill/>
            <a:ln>
              <a:noFill/>
            </a:ln>
          </p:spPr>
        </p:pic>
        <p:sp>
          <p:nvSpPr>
            <p:cNvPr id="30" name="Textplatzhalter 14">
              <a:extLst>
                <a:ext uri="{FF2B5EF4-FFF2-40B4-BE49-F238E27FC236}">
                  <a16:creationId xmlns:a16="http://schemas.microsoft.com/office/drawing/2014/main" id="{388A6BAF-6554-8CDC-7B45-2F9918296E19}"/>
                </a:ext>
              </a:extLst>
            </p:cNvPr>
            <p:cNvSpPr txBox="1">
              <a:spLocks/>
            </p:cNvSpPr>
            <p:nvPr/>
          </p:nvSpPr>
          <p:spPr>
            <a:xfrm>
              <a:off x="10972197" y="3293283"/>
              <a:ext cx="738756" cy="61555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Partner </a:t>
              </a:r>
              <a:r>
                <a:rPr lang="de-DE" sz="1000" err="1">
                  <a:cs typeface="Calibri"/>
                </a:rPr>
                <a:t>Application</a:t>
              </a:r>
              <a:r>
                <a:rPr lang="de-DE" sz="1000">
                  <a:cs typeface="Calibri"/>
                </a:rPr>
                <a:t> Industry Cloud</a:t>
              </a:r>
            </a:p>
          </p:txBody>
        </p:sp>
      </p:grpSp>
      <p:grpSp>
        <p:nvGrpSpPr>
          <p:cNvPr id="31" name="Gruppieren 30">
            <a:extLst>
              <a:ext uri="{FF2B5EF4-FFF2-40B4-BE49-F238E27FC236}">
                <a16:creationId xmlns:a16="http://schemas.microsoft.com/office/drawing/2014/main" id="{95111E4A-F5B0-269D-AE3D-016FC38F771C}"/>
              </a:ext>
            </a:extLst>
          </p:cNvPr>
          <p:cNvGrpSpPr/>
          <p:nvPr/>
        </p:nvGrpSpPr>
        <p:grpSpPr>
          <a:xfrm>
            <a:off x="7267147" y="2131899"/>
            <a:ext cx="766678" cy="1466954"/>
            <a:chOff x="7272003" y="2131899"/>
            <a:chExt cx="766678" cy="1466954"/>
          </a:xfrm>
        </p:grpSpPr>
        <p:pic>
          <p:nvPicPr>
            <p:cNvPr id="32" name="Grafik 31" descr="Ein Bild, das Text, Schrift, Logo, Grafiken enthält.&#10;&#10;Automatisch generierte Beschreibung">
              <a:extLst>
                <a:ext uri="{FF2B5EF4-FFF2-40B4-BE49-F238E27FC236}">
                  <a16:creationId xmlns:a16="http://schemas.microsoft.com/office/drawing/2014/main" id="{111B2D71-440C-F783-86A9-544AEED78A57}"/>
                </a:ext>
              </a:extLst>
            </p:cNvPr>
            <p:cNvPicPr>
              <a:picLocks noChangeAspect="1"/>
            </p:cNvPicPr>
            <p:nvPr/>
          </p:nvPicPr>
          <p:blipFill rotWithShape="1">
            <a:blip r:embed="rId10"/>
            <a:srcRect l="26134" t="15959" r="25622" b="15868"/>
            <a:stretch/>
          </p:blipFill>
          <p:spPr>
            <a:xfrm>
              <a:off x="7272772" y="2131899"/>
              <a:ext cx="765909" cy="1085118"/>
            </a:xfrm>
            <a:prstGeom prst="rect">
              <a:avLst/>
            </a:prstGeom>
          </p:spPr>
        </p:pic>
        <p:sp>
          <p:nvSpPr>
            <p:cNvPr id="33" name="Textplatzhalter 14">
              <a:extLst>
                <a:ext uri="{FF2B5EF4-FFF2-40B4-BE49-F238E27FC236}">
                  <a16:creationId xmlns:a16="http://schemas.microsoft.com/office/drawing/2014/main" id="{62FE0977-4523-FCE6-E39D-319F51071354}"/>
                </a:ext>
              </a:extLst>
            </p:cNvPr>
            <p:cNvSpPr txBox="1">
              <a:spLocks/>
            </p:cNvSpPr>
            <p:nvPr/>
          </p:nvSpPr>
          <p:spPr>
            <a:xfrm>
              <a:off x="7272003" y="3291076"/>
              <a:ext cx="738756" cy="30777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AI Partner Innovation</a:t>
              </a:r>
              <a:endParaRPr lang="en-US"/>
            </a:p>
          </p:txBody>
        </p:sp>
      </p:grpSp>
      <p:pic>
        <p:nvPicPr>
          <p:cNvPr id="34" name="Grafik 23">
            <a:extLst>
              <a:ext uri="{FF2B5EF4-FFF2-40B4-BE49-F238E27FC236}">
                <a16:creationId xmlns:a16="http://schemas.microsoft.com/office/drawing/2014/main" id="{294360AD-7971-5D21-88A2-C7F0CCBE243F}"/>
              </a:ext>
            </a:extLst>
          </p:cNvPr>
          <p:cNvPicPr>
            <a:picLocks noChangeAspect="1"/>
          </p:cNvPicPr>
          <p:nvPr/>
        </p:nvPicPr>
        <p:blipFill>
          <a:blip r:embed="rId11"/>
          <a:stretch>
            <a:fillRect/>
          </a:stretch>
        </p:blipFill>
        <p:spPr>
          <a:xfrm>
            <a:off x="8631996" y="4419601"/>
            <a:ext cx="1081502" cy="1692842"/>
          </a:xfrm>
          <a:prstGeom prst="rect">
            <a:avLst/>
          </a:prstGeom>
        </p:spPr>
      </p:pic>
      <p:pic>
        <p:nvPicPr>
          <p:cNvPr id="35" name="Grafik 34" descr="Ein Bild, das Text, Schrift, Screenshot, Grafiken enthält.&#10;&#10;Beschreibung automatisch generiert.">
            <a:extLst>
              <a:ext uri="{FF2B5EF4-FFF2-40B4-BE49-F238E27FC236}">
                <a16:creationId xmlns:a16="http://schemas.microsoft.com/office/drawing/2014/main" id="{61F034E4-9030-5B9A-DB13-691D81796C24}"/>
              </a:ext>
            </a:extLst>
          </p:cNvPr>
          <p:cNvPicPr>
            <a:picLocks noChangeAspect="1"/>
          </p:cNvPicPr>
          <p:nvPr/>
        </p:nvPicPr>
        <p:blipFill rotWithShape="1">
          <a:blip r:embed="rId12"/>
          <a:srcRect t="4020" r="-794" b="-503"/>
          <a:stretch/>
        </p:blipFill>
        <p:spPr>
          <a:xfrm>
            <a:off x="6703477" y="4419601"/>
            <a:ext cx="1199697" cy="1792014"/>
          </a:xfrm>
          <a:prstGeom prst="rect">
            <a:avLst/>
          </a:prstGeom>
        </p:spPr>
      </p:pic>
      <p:pic>
        <p:nvPicPr>
          <p:cNvPr id="36" name="Grafik 35" descr="Ein Bild, das Text, Schrift, Poster, Grafiken enthält.&#10;&#10;Beschreibung automatisch generiert.">
            <a:extLst>
              <a:ext uri="{FF2B5EF4-FFF2-40B4-BE49-F238E27FC236}">
                <a16:creationId xmlns:a16="http://schemas.microsoft.com/office/drawing/2014/main" id="{50554E22-6CD3-424F-ABB0-CC42AC636F3F}"/>
              </a:ext>
            </a:extLst>
          </p:cNvPr>
          <p:cNvPicPr>
            <a:picLocks noChangeAspect="1"/>
          </p:cNvPicPr>
          <p:nvPr/>
        </p:nvPicPr>
        <p:blipFill>
          <a:blip r:embed="rId13"/>
          <a:stretch>
            <a:fillRect/>
          </a:stretch>
        </p:blipFill>
        <p:spPr>
          <a:xfrm>
            <a:off x="4885248" y="4419601"/>
            <a:ext cx="1079308" cy="1696711"/>
          </a:xfrm>
          <a:prstGeom prst="rect">
            <a:avLst/>
          </a:prstGeom>
        </p:spPr>
      </p:pic>
      <p:pic>
        <p:nvPicPr>
          <p:cNvPr id="37" name="Picture 2">
            <a:extLst>
              <a:ext uri="{FF2B5EF4-FFF2-40B4-BE49-F238E27FC236}">
                <a16:creationId xmlns:a16="http://schemas.microsoft.com/office/drawing/2014/main" id="{AEF430D1-68B0-6933-D417-093EA64DE591}"/>
              </a:ext>
            </a:extLst>
          </p:cNvPr>
          <p:cNvPicPr>
            <a:picLocks noChangeAspect="1"/>
          </p:cNvPicPr>
          <p:nvPr/>
        </p:nvPicPr>
        <p:blipFill>
          <a:blip r:embed="rId14"/>
          <a:stretch>
            <a:fillRect/>
          </a:stretch>
        </p:blipFill>
        <p:spPr>
          <a:xfrm>
            <a:off x="10450225" y="4421605"/>
            <a:ext cx="1107313" cy="1694447"/>
          </a:xfrm>
          <a:prstGeom prst="rect">
            <a:avLst/>
          </a:prstGeom>
        </p:spPr>
      </p:pic>
      <p:pic>
        <p:nvPicPr>
          <p:cNvPr id="38" name="Grafik 37">
            <a:extLst>
              <a:ext uri="{FF2B5EF4-FFF2-40B4-BE49-F238E27FC236}">
                <a16:creationId xmlns:a16="http://schemas.microsoft.com/office/drawing/2014/main" id="{5DF4D35A-79AA-A7A9-477A-4995EEE69C6B}"/>
              </a:ext>
            </a:extLst>
          </p:cNvPr>
          <p:cNvPicPr>
            <a:picLocks noChangeAspect="1"/>
          </p:cNvPicPr>
          <p:nvPr/>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942439" y="5445218"/>
            <a:ext cx="2300264" cy="264530"/>
          </a:xfrm>
          <a:prstGeom prst="rect">
            <a:avLst/>
          </a:prstGeom>
        </p:spPr>
      </p:pic>
      <p:pic>
        <p:nvPicPr>
          <p:cNvPr id="4" name="Grafik 3">
            <a:extLst>
              <a:ext uri="{FF2B5EF4-FFF2-40B4-BE49-F238E27FC236}">
                <a16:creationId xmlns:a16="http://schemas.microsoft.com/office/drawing/2014/main" id="{2C44E456-6821-3A29-218A-0FA34BA271EA}"/>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623888" y="1907586"/>
            <a:ext cx="831384" cy="831384"/>
          </a:xfrm>
          <a:prstGeom prst="rect">
            <a:avLst/>
          </a:prstGeom>
        </p:spPr>
      </p:pic>
    </p:spTree>
    <p:extLst>
      <p:ext uri="{BB962C8B-B14F-4D97-AF65-F5344CB8AC3E}">
        <p14:creationId xmlns:p14="http://schemas.microsoft.com/office/powerpoint/2010/main" val="299360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55AC25-CD4B-58AD-6986-5059D18873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306" imgH="306" progId="TCLayout.ActiveDocument.1">
                  <p:embed/>
                </p:oleObj>
              </mc:Choice>
              <mc:Fallback>
                <p:oleObj name="think-cell Folie" r:id="rId23" imgW="306" imgH="306" progId="TCLayout.ActiveDocument.1">
                  <p:embed/>
                  <p:pic>
                    <p:nvPicPr>
                      <p:cNvPr id="5" name="think-cell data - do not delete" hidden="1">
                        <a:extLst>
                          <a:ext uri="{FF2B5EF4-FFF2-40B4-BE49-F238E27FC236}">
                            <a16:creationId xmlns:a16="http://schemas.microsoft.com/office/drawing/2014/main" id="{C655AC25-CD4B-58AD-6986-5059D188734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8" name="Textplatzhalter 17">
            <a:extLst>
              <a:ext uri="{FF2B5EF4-FFF2-40B4-BE49-F238E27FC236}">
                <a16:creationId xmlns:a16="http://schemas.microsoft.com/office/drawing/2014/main" id="{FA166ECF-1838-5632-0438-D5E88871F3A1}"/>
              </a:ext>
            </a:extLst>
          </p:cNvPr>
          <p:cNvSpPr>
            <a:spLocks noGrp="1"/>
          </p:cNvSpPr>
          <p:nvPr>
            <p:ph type="body" sz="quarter" idx="12"/>
          </p:nvPr>
        </p:nvSpPr>
        <p:spPr>
          <a:xfrm>
            <a:off x="623888" y="296863"/>
            <a:ext cx="9488833" cy="169277"/>
          </a:xfrm>
        </p:spPr>
        <p:txBody>
          <a:bodyPr/>
          <a:lstStyle/>
          <a:p>
            <a:r>
              <a:rPr lang="en-US"/>
              <a:t>The msg group at a glance</a:t>
            </a:r>
          </a:p>
        </p:txBody>
      </p:sp>
      <p:sp>
        <p:nvSpPr>
          <p:cNvPr id="17" name="Titel 16">
            <a:extLst>
              <a:ext uri="{FF2B5EF4-FFF2-40B4-BE49-F238E27FC236}">
                <a16:creationId xmlns:a16="http://schemas.microsoft.com/office/drawing/2014/main" id="{070C543E-652F-AD9B-EACE-2290BAFC78F0}"/>
              </a:ext>
            </a:extLst>
          </p:cNvPr>
          <p:cNvSpPr>
            <a:spLocks noGrp="1"/>
          </p:cNvSpPr>
          <p:nvPr>
            <p:ph type="title"/>
          </p:nvPr>
        </p:nvSpPr>
        <p:spPr>
          <a:xfrm>
            <a:off x="623888" y="620713"/>
            <a:ext cx="9488833" cy="738664"/>
          </a:xfrm>
        </p:spPr>
        <p:txBody>
          <a:bodyPr/>
          <a:lstStyle/>
          <a:p>
            <a:r>
              <a:rPr lang="en-US" dirty="0"/>
              <a:t>Our understanding of our customers’ business characterizes us at all levels – including the </a:t>
            </a:r>
            <a:r>
              <a:rPr lang="en-US" b="1" dirty="0"/>
              <a:t>Group's Management Board</a:t>
            </a:r>
            <a:endParaRPr lang="de-DE" b="1" dirty="0"/>
          </a:p>
        </p:txBody>
      </p:sp>
      <p:sp>
        <p:nvSpPr>
          <p:cNvPr id="2" name="Fußzeilenplatzhalter 1">
            <a:extLst>
              <a:ext uri="{FF2B5EF4-FFF2-40B4-BE49-F238E27FC236}">
                <a16:creationId xmlns:a16="http://schemas.microsoft.com/office/drawing/2014/main" id="{EA1E5985-035C-11FA-97AE-DA4270ABE1D9}"/>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7" name="Foliennummernplatzhalter 26">
            <a:extLst>
              <a:ext uri="{FF2B5EF4-FFF2-40B4-BE49-F238E27FC236}">
                <a16:creationId xmlns:a16="http://schemas.microsoft.com/office/drawing/2014/main" id="{95C5DF00-DB71-A75F-F014-682CE766A0B9}"/>
              </a:ext>
            </a:extLst>
          </p:cNvPr>
          <p:cNvSpPr>
            <a:spLocks noGrp="1"/>
          </p:cNvSpPr>
          <p:nvPr>
            <p:ph type="sldNum" sz="quarter" idx="11"/>
          </p:nvPr>
        </p:nvSpPr>
        <p:spPr>
          <a:xfrm>
            <a:off x="11425418" y="6443762"/>
            <a:ext cx="431620" cy="153888"/>
          </a:xfrm>
        </p:spPr>
        <p:txBody>
          <a:bodyPr/>
          <a:lstStyle/>
          <a:p>
            <a:fld id="{1FBD72F1-A42A-46B0-A7F8-CE6A9835826C}" type="slidenum">
              <a:rPr lang="de-DE" smtClean="0"/>
              <a:pPr/>
              <a:t>17</a:t>
            </a:fld>
            <a:endParaRPr lang="de-DE"/>
          </a:p>
        </p:txBody>
      </p:sp>
      <p:sp>
        <p:nvSpPr>
          <p:cNvPr id="9" name="Textplatzhalter 38">
            <a:extLst>
              <a:ext uri="{FF2B5EF4-FFF2-40B4-BE49-F238E27FC236}">
                <a16:creationId xmlns:a16="http://schemas.microsoft.com/office/drawing/2014/main" id="{437AD118-F672-F011-0C18-4CE7C6E6352B}"/>
              </a:ext>
            </a:extLst>
          </p:cNvPr>
          <p:cNvSpPr txBox="1">
            <a:spLocks/>
          </p:cNvSpPr>
          <p:nvPr>
            <p:custDataLst>
              <p:tags r:id="rId2"/>
            </p:custDataLst>
          </p:nvPr>
        </p:nvSpPr>
        <p:spPr>
          <a:xfrm>
            <a:off x="891485" y="4020520"/>
            <a:ext cx="2026426"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Dr. Jürgen</a:t>
            </a:r>
          </a:p>
          <a:p>
            <a:pPr marL="7620">
              <a:lnSpc>
                <a:spcPts val="1000"/>
              </a:lnSpc>
            </a:pPr>
            <a:r>
              <a:rPr lang="de-DE" sz="1700" dirty="0">
                <a:solidFill>
                  <a:schemeClr val="tx1"/>
                </a:solidFill>
                <a:latin typeface="Aptos Light" panose="020B0004020202020204" pitchFamily="34" charset="0"/>
              </a:rPr>
              <a:t>Zehetmaier</a:t>
            </a:r>
            <a:endParaRPr lang="de-DE" sz="1700" dirty="0">
              <a:solidFill>
                <a:schemeClr val="tx1"/>
              </a:solidFill>
              <a:latin typeface="Aptos Light" panose="020B0004020202020204" pitchFamily="34" charset="0"/>
              <a:cs typeface="Open Sans"/>
            </a:endParaRPr>
          </a:p>
        </p:txBody>
      </p:sp>
      <p:sp>
        <p:nvSpPr>
          <p:cNvPr id="11" name="Titel 1">
            <a:extLst>
              <a:ext uri="{FF2B5EF4-FFF2-40B4-BE49-F238E27FC236}">
                <a16:creationId xmlns:a16="http://schemas.microsoft.com/office/drawing/2014/main" id="{30E522FD-24A7-B34A-A2CB-214825CEED82}"/>
              </a:ext>
            </a:extLst>
          </p:cNvPr>
          <p:cNvSpPr txBox="1">
            <a:spLocks/>
          </p:cNvSpPr>
          <p:nvPr>
            <p:custDataLst>
              <p:tags r:id="rId3"/>
            </p:custDataLst>
          </p:nvPr>
        </p:nvSpPr>
        <p:spPr>
          <a:xfrm>
            <a:off x="9255923" y="4547775"/>
            <a:ext cx="1592429" cy="17989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1000">
                <a:solidFill>
                  <a:schemeClr val="bg1"/>
                </a:solidFill>
                <a:latin typeface="Aptos Light" panose="020B0004020202020204" pitchFamily="34" charset="0"/>
              </a:rPr>
              <a:t>Vorstandsvorsitzender</a:t>
            </a:r>
          </a:p>
        </p:txBody>
      </p:sp>
      <p:sp>
        <p:nvSpPr>
          <p:cNvPr id="14" name="Textplatzhalter 38">
            <a:extLst>
              <a:ext uri="{FF2B5EF4-FFF2-40B4-BE49-F238E27FC236}">
                <a16:creationId xmlns:a16="http://schemas.microsoft.com/office/drawing/2014/main" id="{DD243B0C-4EEB-2B22-46AB-A86B5FA22A08}"/>
              </a:ext>
            </a:extLst>
          </p:cNvPr>
          <p:cNvSpPr txBox="1">
            <a:spLocks/>
          </p:cNvSpPr>
          <p:nvPr>
            <p:custDataLst>
              <p:tags r:id="rId4"/>
            </p:custDataLst>
          </p:nvPr>
        </p:nvSpPr>
        <p:spPr>
          <a:xfrm>
            <a:off x="891485" y="4784542"/>
            <a:ext cx="2055001"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Finance Department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Insurance Industry</a:t>
            </a:r>
            <a:r>
              <a:rPr lang="de-DE" sz="1050" dirty="0">
                <a:solidFill>
                  <a:schemeClr val="tx1"/>
                </a:solidFill>
                <a:latin typeface="Aptos" panose="020B0004020202020204" pitchFamily="34" charset="0"/>
                <a:ea typeface="+mn-ea"/>
                <a:cs typeface="Calibri" panose="020F0502020204030204" pitchFamily="34" charset="0"/>
              </a:rPr>
              <a:t>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Health  </a:t>
            </a:r>
            <a:r>
              <a:rPr lang="de-DE" sz="1050" dirty="0" err="1">
                <a:solidFill>
                  <a:schemeClr val="tx1"/>
                </a:solidFill>
                <a:latin typeface="Aptos" panose="020B0004020202020204" pitchFamily="34" charset="0"/>
              </a:rPr>
              <a:t>Sector</a:t>
            </a:r>
            <a:endParaRPr lang="de-DE" sz="1050" dirty="0">
              <a:solidFill>
                <a:schemeClr val="tx1"/>
              </a:solidFill>
              <a:latin typeface="Aptos" panose="020B0004020202020204" pitchFamily="34" charset="0"/>
            </a:endParaRP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rPr>
              <a:t>Subsidiaries</a:t>
            </a:r>
            <a:r>
              <a:rPr lang="de-DE" sz="1050" dirty="0">
                <a:solidFill>
                  <a:schemeClr val="tx1"/>
                </a:solidFill>
                <a:latin typeface="Aptos" panose="020B0004020202020204" pitchFamily="34" charset="0"/>
              </a:rPr>
              <a:t> in Austria and </a:t>
            </a:r>
            <a:r>
              <a:rPr lang="de-DE" sz="1050" dirty="0" err="1">
                <a:solidFill>
                  <a:schemeClr val="tx1"/>
                </a:solidFill>
                <a:latin typeface="Aptos" panose="020B0004020202020204" pitchFamily="34" charset="0"/>
              </a:rPr>
              <a:t>Switzerland</a:t>
            </a:r>
            <a:r>
              <a:rPr lang="de-DE" sz="1050" dirty="0">
                <a:solidFill>
                  <a:schemeClr val="tx1"/>
                </a:solidFill>
                <a:latin typeface="Aptos" panose="020B0004020202020204" pitchFamily="34" charset="0"/>
                <a:ea typeface="+mn-ea"/>
                <a:cs typeface="+mn-cs"/>
              </a:rPr>
              <a:t> </a:t>
            </a:r>
          </a:p>
          <a:p>
            <a:pPr marL="171450" indent="-171450">
              <a:lnSpc>
                <a:spcPct val="100000"/>
              </a:lnSpc>
              <a:spcBef>
                <a:spcPts val="0"/>
              </a:spcBef>
              <a:buClrTx/>
              <a:buFont typeface="Arial" panose="020B0604020202020204" pitchFamily="34" charset="0"/>
              <a:buChar char="•"/>
              <a:defRPr/>
            </a:pPr>
            <a:r>
              <a:rPr lang="en-US" sz="1050" dirty="0">
                <a:solidFill>
                  <a:schemeClr val="tx1"/>
                </a:solidFill>
                <a:latin typeface="Aptos" panose="020B0004020202020204" pitchFamily="34" charset="0"/>
              </a:rPr>
              <a:t>Legal</a:t>
            </a:r>
            <a:r>
              <a:rPr lang="de-DE" sz="1050" dirty="0">
                <a:solidFill>
                  <a:schemeClr val="tx1"/>
                </a:solidFill>
                <a:latin typeface="Aptos" panose="020B0004020202020204" pitchFamily="34" charset="0"/>
              </a:rPr>
              <a:t> Office</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Risk &amp; Security Office</a:t>
            </a:r>
          </a:p>
        </p:txBody>
      </p:sp>
      <p:sp>
        <p:nvSpPr>
          <p:cNvPr id="15" name="Titel 1">
            <a:extLst>
              <a:ext uri="{FF2B5EF4-FFF2-40B4-BE49-F238E27FC236}">
                <a16:creationId xmlns:a16="http://schemas.microsoft.com/office/drawing/2014/main" id="{317C82DD-CCE5-B01D-4ECC-9A7E57F74AE1}"/>
              </a:ext>
            </a:extLst>
          </p:cNvPr>
          <p:cNvSpPr txBox="1">
            <a:spLocks/>
          </p:cNvSpPr>
          <p:nvPr>
            <p:custDataLst>
              <p:tags r:id="rId5"/>
            </p:custDataLst>
          </p:nvPr>
        </p:nvSpPr>
        <p:spPr>
          <a:xfrm>
            <a:off x="891485" y="4541118"/>
            <a:ext cx="1984915" cy="171721"/>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1050" dirty="0">
                <a:solidFill>
                  <a:schemeClr val="tx1"/>
                </a:solidFill>
              </a:rPr>
              <a:t>Chairman </a:t>
            </a:r>
            <a:r>
              <a:rPr lang="de-DE" sz="1050" dirty="0" err="1">
                <a:solidFill>
                  <a:schemeClr val="tx1"/>
                </a:solidFill>
              </a:rPr>
              <a:t>of</a:t>
            </a:r>
            <a:r>
              <a:rPr lang="de-DE" sz="1050" dirty="0">
                <a:solidFill>
                  <a:schemeClr val="tx1"/>
                </a:solidFill>
              </a:rPr>
              <a:t> </a:t>
            </a:r>
            <a:r>
              <a:rPr lang="de-DE" sz="1050" dirty="0" err="1">
                <a:solidFill>
                  <a:schemeClr val="tx1"/>
                </a:solidFill>
              </a:rPr>
              <a:t>the</a:t>
            </a:r>
            <a:r>
              <a:rPr lang="de-DE" sz="1050" dirty="0">
                <a:solidFill>
                  <a:schemeClr val="tx1"/>
                </a:solidFill>
              </a:rPr>
              <a:t> Executive Board</a:t>
            </a:r>
            <a:endParaRPr lang="de-DE" sz="1000" dirty="0">
              <a:solidFill>
                <a:schemeClr val="tx1"/>
              </a:solidFill>
            </a:endParaRPr>
          </a:p>
        </p:txBody>
      </p:sp>
      <p:sp>
        <p:nvSpPr>
          <p:cNvPr id="19" name="Textplatzhalter 38">
            <a:extLst>
              <a:ext uri="{FF2B5EF4-FFF2-40B4-BE49-F238E27FC236}">
                <a16:creationId xmlns:a16="http://schemas.microsoft.com/office/drawing/2014/main" id="{0390C75D-B335-286F-DB28-1276AD881074}"/>
              </a:ext>
            </a:extLst>
          </p:cNvPr>
          <p:cNvSpPr txBox="1">
            <a:spLocks/>
          </p:cNvSpPr>
          <p:nvPr>
            <p:custDataLst>
              <p:tags r:id="rId6"/>
            </p:custDataLst>
          </p:nvPr>
        </p:nvSpPr>
        <p:spPr>
          <a:xfrm>
            <a:off x="6608864" y="4784542"/>
            <a:ext cx="2186423" cy="1406566"/>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Life Sciences &amp; Chemicals Industry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Travel &amp; </a:t>
            </a:r>
            <a:r>
              <a:rPr lang="de-DE" sz="1050" dirty="0" err="1">
                <a:solidFill>
                  <a:schemeClr val="tx1"/>
                </a:solidFill>
                <a:latin typeface="Aptos" panose="020B0004020202020204" pitchFamily="34" charset="0"/>
              </a:rPr>
              <a:t>Logistics</a:t>
            </a:r>
            <a:r>
              <a:rPr lang="de-DE" sz="1050" dirty="0">
                <a:solidFill>
                  <a:schemeClr val="tx1"/>
                </a:solidFill>
                <a:latin typeface="Aptos" panose="020B0004020202020204" pitchFamily="34" charset="0"/>
              </a:rPr>
              <a:t> Industry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Consumer Products Industry</a:t>
            </a:r>
            <a:r>
              <a:rPr lang="de-DE" sz="1050" dirty="0">
                <a:solidFill>
                  <a:schemeClr val="tx1"/>
                </a:solidFill>
                <a:latin typeface="Aptos" panose="020B0004020202020204" pitchFamily="34" charset="0"/>
                <a:ea typeface="+mn-ea"/>
                <a:cs typeface="+mn-cs"/>
              </a:rPr>
              <a:t> </a:t>
            </a:r>
          </a:p>
          <a:p>
            <a:pPr marL="17145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Telecommunications </a:t>
            </a:r>
            <a:r>
              <a:rPr lang="de-DE" sz="1050" dirty="0">
                <a:solidFill>
                  <a:schemeClr val="tx1"/>
                </a:solidFill>
                <a:latin typeface="Aptos" panose="020B0004020202020204" pitchFamily="34" charset="0"/>
              </a:rPr>
              <a:t>Industry</a:t>
            </a:r>
            <a:r>
              <a:rPr lang="de-DE" sz="1050" dirty="0">
                <a:solidFill>
                  <a:schemeClr val="tx1"/>
                </a:solidFill>
                <a:latin typeface="Aptos" panose="020B0004020202020204" pitchFamily="34" charset="0"/>
                <a:ea typeface="+mn-ea"/>
                <a:cs typeface="+mn-cs"/>
              </a:rPr>
              <a:t> </a:t>
            </a:r>
          </a:p>
          <a:p>
            <a:pPr marL="17145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Utilities </a:t>
            </a:r>
            <a:r>
              <a:rPr lang="de-DE" sz="1050" dirty="0">
                <a:solidFill>
                  <a:schemeClr val="tx1"/>
                </a:solidFill>
                <a:latin typeface="Aptos" panose="020B0004020202020204" pitchFamily="34" charset="0"/>
                <a:ea typeface="+mn-ea"/>
                <a:cs typeface="+mn-cs"/>
              </a:rPr>
              <a:t>I</a:t>
            </a:r>
            <a:r>
              <a:rPr kumimoji="0" lang="de-DE" sz="1050" u="none" strike="noStrike" kern="1200" cap="none" spc="0" normalizeH="0" baseline="0" noProof="0" dirty="0" err="1">
                <a:ln>
                  <a:noFill/>
                </a:ln>
                <a:solidFill>
                  <a:schemeClr val="tx1"/>
                </a:solidFill>
                <a:effectLst/>
                <a:uLnTx/>
                <a:uFillTx/>
                <a:latin typeface="Aptos" panose="020B0004020202020204" pitchFamily="34" charset="0"/>
                <a:ea typeface="+mn-ea"/>
                <a:cs typeface="+mn-cs"/>
              </a:rPr>
              <a:t>ndustry</a:t>
            </a:r>
            <a:endPar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ea typeface="+mn-ea"/>
                <a:cs typeface="+mn-cs"/>
              </a:rPr>
              <a:t>msg</a:t>
            </a:r>
            <a:r>
              <a:rPr lang="de-DE" sz="1050" dirty="0">
                <a:solidFill>
                  <a:schemeClr val="tx1"/>
                </a:solidFill>
                <a:latin typeface="Aptos" panose="020B0004020202020204" pitchFamily="34" charset="0"/>
                <a:ea typeface="+mn-ea"/>
                <a:cs typeface="+mn-cs"/>
              </a:rPr>
              <a:t> digital</a:t>
            </a: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ea typeface="+mn-ea"/>
                <a:cs typeface="+mn-cs"/>
              </a:rPr>
              <a:t>msg</a:t>
            </a:r>
            <a:r>
              <a:rPr lang="de-DE" sz="1050" dirty="0">
                <a:solidFill>
                  <a:schemeClr val="tx1"/>
                </a:solidFill>
                <a:latin typeface="Aptos" panose="020B0004020202020204" pitchFamily="34" charset="0"/>
                <a:ea typeface="+mn-ea"/>
                <a:cs typeface="+mn-cs"/>
              </a:rPr>
              <a:t> </a:t>
            </a:r>
            <a:r>
              <a:rPr lang="de-DE" sz="1050" dirty="0" err="1">
                <a:solidFill>
                  <a:schemeClr val="tx1"/>
                </a:solidFill>
                <a:latin typeface="Aptos" panose="020B0004020202020204" pitchFamily="34" charset="0"/>
                <a:ea typeface="+mn-ea"/>
                <a:cs typeface="+mn-cs"/>
              </a:rPr>
              <a:t>research</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ea typeface="+mn-ea"/>
                <a:cs typeface="+mn-cs"/>
              </a:rPr>
              <a:t>msg</a:t>
            </a:r>
            <a:r>
              <a:rPr lang="de-DE" sz="1050" dirty="0">
                <a:solidFill>
                  <a:schemeClr val="tx1"/>
                </a:solidFill>
                <a:latin typeface="Aptos" panose="020B0004020202020204" pitchFamily="34" charset="0"/>
                <a:ea typeface="+mn-ea"/>
                <a:cs typeface="+mn-cs"/>
              </a:rPr>
              <a:t> </a:t>
            </a:r>
            <a:r>
              <a:rPr lang="de-DE" sz="1050" dirty="0" err="1">
                <a:solidFill>
                  <a:schemeClr val="tx1"/>
                </a:solidFill>
                <a:latin typeface="Aptos" panose="020B0004020202020204" pitchFamily="34" charset="0"/>
                <a:ea typeface="+mn-ea"/>
                <a:cs typeface="+mn-cs"/>
              </a:rPr>
              <a:t>advisors</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Operating Office</a:t>
            </a:r>
            <a:endParaRPr lang="de-DE" sz="1050" dirty="0">
              <a:solidFill>
                <a:schemeClr val="tx1"/>
              </a:solidFill>
              <a:latin typeface="Aptos" panose="020B0004020202020204" pitchFamily="34" charset="0"/>
              <a:cs typeface="Calibri"/>
            </a:endParaRPr>
          </a:p>
          <a:p>
            <a:pPr marL="0">
              <a:lnSpc>
                <a:spcPct val="100000"/>
              </a:lnSpc>
              <a:spcBef>
                <a:spcPts val="0"/>
              </a:spcBef>
              <a:buClrTx/>
              <a:defRPr/>
            </a:pPr>
            <a:endParaRPr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Calibri"/>
            </a:endParaRPr>
          </a:p>
        </p:txBody>
      </p:sp>
      <p:sp>
        <p:nvSpPr>
          <p:cNvPr id="20" name="Textplatzhalter 38">
            <a:extLst>
              <a:ext uri="{FF2B5EF4-FFF2-40B4-BE49-F238E27FC236}">
                <a16:creationId xmlns:a16="http://schemas.microsoft.com/office/drawing/2014/main" id="{D3786ED4-7319-C015-70D3-1C77BCB27C0D}"/>
              </a:ext>
            </a:extLst>
          </p:cNvPr>
          <p:cNvSpPr txBox="1">
            <a:spLocks/>
          </p:cNvSpPr>
          <p:nvPr>
            <p:custDataLst>
              <p:tags r:id="rId7"/>
            </p:custDataLst>
          </p:nvPr>
        </p:nvSpPr>
        <p:spPr>
          <a:xfrm>
            <a:off x="9468586" y="4784542"/>
            <a:ext cx="2723414"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Banking </a:t>
            </a:r>
            <a:r>
              <a:rPr lang="de-DE" sz="1050" dirty="0">
                <a:solidFill>
                  <a:schemeClr val="tx1"/>
                </a:solidFill>
                <a:latin typeface="Aptos" panose="020B0004020202020204" pitchFamily="34" charset="0"/>
              </a:rPr>
              <a:t>Industry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ea typeface="+mn-ea"/>
                <a:cs typeface="+mn-cs"/>
              </a:rPr>
              <a:t>Public </a:t>
            </a:r>
            <a:r>
              <a:rPr lang="de-DE" sz="1050" dirty="0" err="1">
                <a:solidFill>
                  <a:schemeClr val="tx1"/>
                </a:solidFill>
                <a:latin typeface="Aptos" panose="020B0004020202020204" pitchFamily="34" charset="0"/>
                <a:ea typeface="+mn-ea"/>
                <a:cs typeface="+mn-cs"/>
              </a:rPr>
              <a:t>Sector</a:t>
            </a:r>
            <a:r>
              <a:rPr lang="de-DE" sz="1050" dirty="0">
                <a:solidFill>
                  <a:schemeClr val="tx1"/>
                </a:solidFill>
                <a:latin typeface="Aptos" panose="020B0004020202020204" pitchFamily="34" charset="0"/>
                <a:ea typeface="+mn-ea"/>
                <a:cs typeface="+mn-cs"/>
              </a:rPr>
              <a:t> </a:t>
            </a:r>
            <a:r>
              <a:rPr lang="de-DE" sz="1050" dirty="0">
                <a:solidFill>
                  <a:schemeClr val="tx1"/>
                </a:solidFill>
                <a:latin typeface="Aptos" panose="020B0004020202020204" pitchFamily="34" charset="0"/>
              </a:rPr>
              <a:t>Industry</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rPr>
              <a:t>Defense &amp; Aerospace Industry</a:t>
            </a:r>
          </a:p>
          <a:p>
            <a:pPr marL="171450" indent="-171450">
              <a:lnSpc>
                <a:spcPct val="100000"/>
              </a:lnSpc>
              <a:spcBef>
                <a:spcPts val="0"/>
              </a:spcBef>
              <a:buClrTx/>
              <a:buFont typeface="Arial" panose="020B0604020202020204" pitchFamily="34" charset="0"/>
              <a:buChar char="•"/>
              <a:defRPr/>
            </a:pPr>
            <a:r>
              <a:rPr lang="de-DE" sz="1050" dirty="0" err="1">
                <a:solidFill>
                  <a:schemeClr val="tx1"/>
                </a:solidFill>
                <a:latin typeface="Aptos" panose="020B0004020202020204" pitchFamily="34" charset="0"/>
              </a:rPr>
              <a:t>Artificial</a:t>
            </a:r>
            <a:r>
              <a:rPr lang="de-DE" sz="1050" dirty="0">
                <a:solidFill>
                  <a:schemeClr val="tx1"/>
                </a:solidFill>
                <a:latin typeface="Aptos" panose="020B0004020202020204" pitchFamily="34" charset="0"/>
              </a:rPr>
              <a:t> </a:t>
            </a:r>
            <a:r>
              <a:rPr lang="de-DE" sz="1050" dirty="0" err="1">
                <a:solidFill>
                  <a:schemeClr val="tx1"/>
                </a:solidFill>
                <a:latin typeface="Aptos" panose="020B0004020202020204" pitchFamily="34" charset="0"/>
              </a:rPr>
              <a:t>Intelligence</a:t>
            </a:r>
            <a:endParaRPr lang="de-DE" sz="1050" dirty="0">
              <a:solidFill>
                <a:schemeClr val="tx1"/>
              </a:solidFill>
              <a:latin typeface="Aptos" panose="020B0004020202020204" pitchFamily="34" charset="0"/>
              <a:ea typeface="+mn-ea"/>
              <a:cs typeface="+mn-cs"/>
            </a:endParaRP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Aptos" panose="020B0004020202020204" pitchFamily="34" charset="0"/>
                <a:ea typeface="+mn-ea"/>
                <a:cs typeface="+mn-cs"/>
              </a:rPr>
              <a:t>Sales Office</a:t>
            </a:r>
          </a:p>
          <a:p>
            <a:pPr marL="171450" indent="-171450">
              <a:lnSpc>
                <a:spcPct val="100000"/>
              </a:lnSpc>
              <a:spcBef>
                <a:spcPts val="0"/>
              </a:spcBef>
              <a:buClrTx/>
              <a:buFont typeface="Arial" panose="020B0604020202020204" pitchFamily="34" charset="0"/>
              <a:buChar char="•"/>
              <a:defRPr/>
            </a:pPr>
            <a:r>
              <a:rPr kumimoji="0"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mn-cs"/>
              </a:rPr>
              <a:t>Global Alliance Management</a:t>
            </a:r>
          </a:p>
          <a:p>
            <a:pPr marL="171450" indent="-171450">
              <a:lnSpc>
                <a:spcPct val="100000"/>
              </a:lnSpc>
              <a:spcBef>
                <a:spcPts val="0"/>
              </a:spcBef>
              <a:buClrTx/>
              <a:buFont typeface="Arial" panose="020B0604020202020204" pitchFamily="34" charset="0"/>
              <a:buChar char="•"/>
              <a:defRPr/>
            </a:pPr>
            <a:r>
              <a:rPr lang="de-DE" sz="1050" spc="20" dirty="0">
                <a:solidFill>
                  <a:schemeClr val="tx1"/>
                </a:solidFill>
              </a:rPr>
              <a:t>Group Marketing &amp; Communications </a:t>
            </a:r>
            <a:br>
              <a:rPr lang="de-DE" sz="1050" dirty="0">
                <a:solidFill>
                  <a:schemeClr val="tx1"/>
                </a:solidFill>
                <a:latin typeface="Aptos" panose="020B0004020202020204" pitchFamily="34" charset="0"/>
                <a:ea typeface="+mn-ea"/>
                <a:cs typeface="Calibri"/>
              </a:rPr>
            </a:br>
            <a:endParaRPr lang="de-DE" sz="1050" u="none" strike="noStrike" kern="1200" cap="none" spc="0" normalizeH="0" baseline="0" noProof="0" dirty="0">
              <a:ln>
                <a:noFill/>
              </a:ln>
              <a:solidFill>
                <a:schemeClr val="tx1"/>
              </a:solidFill>
              <a:effectLst/>
              <a:uLnTx/>
              <a:uFillTx/>
              <a:latin typeface="Aptos" panose="020B0004020202020204" pitchFamily="34" charset="0"/>
              <a:ea typeface="+mn-ea"/>
              <a:cs typeface="Calibri"/>
            </a:endParaRPr>
          </a:p>
        </p:txBody>
      </p:sp>
      <p:sp>
        <p:nvSpPr>
          <p:cNvPr id="33" name="Pfeil: Chevron 33">
            <a:extLst>
              <a:ext uri="{FF2B5EF4-FFF2-40B4-BE49-F238E27FC236}">
                <a16:creationId xmlns:a16="http://schemas.microsoft.com/office/drawing/2014/main" id="{046AD702-6FEC-1C9B-6708-530959220702}"/>
              </a:ext>
            </a:extLst>
          </p:cNvPr>
          <p:cNvSpPr>
            <a:spLocks/>
          </p:cNvSpPr>
          <p:nvPr>
            <p:custDataLst>
              <p:tags r:id="rId8"/>
            </p:custDataLst>
          </p:nvPr>
        </p:nvSpPr>
        <p:spPr>
          <a:xfrm flipV="1">
            <a:off x="622800" y="4113398"/>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46" name="Textplatzhalter 38">
            <a:extLst>
              <a:ext uri="{FF2B5EF4-FFF2-40B4-BE49-F238E27FC236}">
                <a16:creationId xmlns:a16="http://schemas.microsoft.com/office/drawing/2014/main" id="{8F70F657-8ED1-8829-3AC5-F33ACA2D2D8D}"/>
              </a:ext>
            </a:extLst>
          </p:cNvPr>
          <p:cNvSpPr txBox="1">
            <a:spLocks/>
          </p:cNvSpPr>
          <p:nvPr>
            <p:custDataLst>
              <p:tags r:id="rId9"/>
            </p:custDataLst>
          </p:nvPr>
        </p:nvSpPr>
        <p:spPr>
          <a:xfrm>
            <a:off x="3738559" y="4784543"/>
            <a:ext cx="2026426" cy="860902"/>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International Units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SAP Competence  </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Automotive Industry</a:t>
            </a:r>
          </a:p>
          <a:p>
            <a:pPr marL="171450" indent="-171450">
              <a:lnSpc>
                <a:spcPct val="100000"/>
              </a:lnSpc>
              <a:spcBef>
                <a:spcPts val="0"/>
              </a:spcBef>
              <a:buClrTx/>
              <a:buFont typeface="Arial" panose="020B0604020202020204" pitchFamily="34" charset="0"/>
              <a:buChar char="•"/>
              <a:defRPr/>
            </a:pPr>
            <a:r>
              <a:rPr lang="de-DE" sz="1050" dirty="0">
                <a:solidFill>
                  <a:schemeClr val="tx1"/>
                </a:solidFill>
                <a:latin typeface="+mj-lt"/>
              </a:rPr>
              <a:t>Food Industry</a:t>
            </a:r>
          </a:p>
        </p:txBody>
      </p:sp>
      <p:sp>
        <p:nvSpPr>
          <p:cNvPr id="28" name="Textfeld 27">
            <a:extLst>
              <a:ext uri="{FF2B5EF4-FFF2-40B4-BE49-F238E27FC236}">
                <a16:creationId xmlns:a16="http://schemas.microsoft.com/office/drawing/2014/main" id="{7E191A19-404A-3FEF-B5F8-9617C7D8AD4F}"/>
              </a:ext>
            </a:extLst>
          </p:cNvPr>
          <p:cNvSpPr txBox="1"/>
          <p:nvPr/>
        </p:nvSpPr>
        <p:spPr>
          <a:xfrm>
            <a:off x="6585155" y="5220929"/>
            <a:ext cx="0" cy="0"/>
          </a:xfrm>
          <a:prstGeom prst="rect">
            <a:avLst/>
          </a:prstGeom>
          <a:noFill/>
        </p:spPr>
        <p:txBody>
          <a:bodyPr wrap="none" lIns="0" tIns="0" rIns="0" bIns="0" rtlCol="0">
            <a:noAutofit/>
          </a:bodyPr>
          <a:lstStyle/>
          <a:p>
            <a:pPr algn="l"/>
            <a:endParaRPr lang="de-DE" sz="1600" dirty="0" err="1"/>
          </a:p>
        </p:txBody>
      </p:sp>
      <p:grpSp>
        <p:nvGrpSpPr>
          <p:cNvPr id="29" name="Gruppieren 28">
            <a:extLst>
              <a:ext uri="{FF2B5EF4-FFF2-40B4-BE49-F238E27FC236}">
                <a16:creationId xmlns:a16="http://schemas.microsoft.com/office/drawing/2014/main" id="{C0C2069E-B6DF-375A-471D-7B3A07E268D7}"/>
              </a:ext>
            </a:extLst>
          </p:cNvPr>
          <p:cNvGrpSpPr/>
          <p:nvPr/>
        </p:nvGrpSpPr>
        <p:grpSpPr>
          <a:xfrm>
            <a:off x="623888" y="1783912"/>
            <a:ext cx="1832519" cy="1832519"/>
            <a:chOff x="623888" y="1783912"/>
            <a:chExt cx="1832519" cy="1832519"/>
          </a:xfrm>
        </p:grpSpPr>
        <p:sp>
          <p:nvSpPr>
            <p:cNvPr id="30" name="Ellipse 10">
              <a:extLst>
                <a:ext uri="{FF2B5EF4-FFF2-40B4-BE49-F238E27FC236}">
                  <a16:creationId xmlns:a16="http://schemas.microsoft.com/office/drawing/2014/main" id="{EDE5BF6A-2488-63DD-C419-DE56F48CD085}"/>
                </a:ext>
              </a:extLst>
            </p:cNvPr>
            <p:cNvSpPr/>
            <p:nvPr>
              <p:custDataLst>
                <p:tags r:id="rId19"/>
              </p:custDataLst>
            </p:nvPr>
          </p:nvSpPr>
          <p:spPr>
            <a:xfrm>
              <a:off x="623888"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1" name="Oval 30">
              <a:extLst>
                <a:ext uri="{FF2B5EF4-FFF2-40B4-BE49-F238E27FC236}">
                  <a16:creationId xmlns:a16="http://schemas.microsoft.com/office/drawing/2014/main" id="{041783CC-CA61-942C-77A4-1642F114CA13}"/>
                </a:ext>
              </a:extLst>
            </p:cNvPr>
            <p:cNvSpPr/>
            <p:nvPr>
              <p:custDataLst>
                <p:tags r:id="rId20"/>
              </p:custDataLst>
            </p:nvPr>
          </p:nvSpPr>
          <p:spPr>
            <a:xfrm>
              <a:off x="721403" y="1881427"/>
              <a:ext cx="1637489" cy="1637489"/>
            </a:xfrm>
            <a:prstGeom prst="ellipse">
              <a:avLst/>
            </a:prstGeom>
            <a:blipFill>
              <a:blip r:embed="rId26"/>
              <a:stretch>
                <a:fillRect l="-50641" t="-57262" r="-62539" b="-167871"/>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grpSp>
      <p:sp>
        <p:nvSpPr>
          <p:cNvPr id="32" name="Textplatzhalter 38">
            <a:extLst>
              <a:ext uri="{FF2B5EF4-FFF2-40B4-BE49-F238E27FC236}">
                <a16:creationId xmlns:a16="http://schemas.microsoft.com/office/drawing/2014/main" id="{D01CEB6D-1188-FBA4-1D72-F6260FF74E3E}"/>
              </a:ext>
            </a:extLst>
          </p:cNvPr>
          <p:cNvSpPr txBox="1">
            <a:spLocks/>
          </p:cNvSpPr>
          <p:nvPr>
            <p:custDataLst>
              <p:tags r:id="rId10"/>
            </p:custDataLst>
          </p:nvPr>
        </p:nvSpPr>
        <p:spPr>
          <a:xfrm>
            <a:off x="6608865" y="4020520"/>
            <a:ext cx="1372186"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Karsten</a:t>
            </a:r>
          </a:p>
          <a:p>
            <a:pPr marL="7620">
              <a:lnSpc>
                <a:spcPts val="1000"/>
              </a:lnSpc>
            </a:pPr>
            <a:r>
              <a:rPr lang="de-DE" sz="1700" dirty="0" err="1">
                <a:solidFill>
                  <a:schemeClr val="tx1"/>
                </a:solidFill>
                <a:latin typeface="Aptos Light" panose="020B0004020202020204" pitchFamily="34" charset="0"/>
              </a:rPr>
              <a:t>Redenius</a:t>
            </a:r>
            <a:endParaRPr lang="de-DE" sz="1700" dirty="0">
              <a:solidFill>
                <a:schemeClr val="tx1"/>
              </a:solidFill>
              <a:latin typeface="Aptos Light" panose="020B0004020202020204" pitchFamily="34" charset="0"/>
              <a:cs typeface="Open Sans"/>
            </a:endParaRPr>
          </a:p>
        </p:txBody>
      </p:sp>
      <p:sp>
        <p:nvSpPr>
          <p:cNvPr id="34" name="Textplatzhalter 38">
            <a:extLst>
              <a:ext uri="{FF2B5EF4-FFF2-40B4-BE49-F238E27FC236}">
                <a16:creationId xmlns:a16="http://schemas.microsoft.com/office/drawing/2014/main" id="{1B6F2DEB-DEDF-5C2F-8385-8D53CFFFD660}"/>
              </a:ext>
            </a:extLst>
          </p:cNvPr>
          <p:cNvSpPr txBox="1">
            <a:spLocks/>
          </p:cNvSpPr>
          <p:nvPr>
            <p:custDataLst>
              <p:tags r:id="rId11"/>
            </p:custDataLst>
          </p:nvPr>
        </p:nvSpPr>
        <p:spPr>
          <a:xfrm>
            <a:off x="3738559" y="4020520"/>
            <a:ext cx="1104757"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Michael </a:t>
            </a:r>
            <a:br>
              <a:rPr lang="de-DE" sz="1700" dirty="0">
                <a:solidFill>
                  <a:schemeClr val="tx1"/>
                </a:solidFill>
                <a:latin typeface="Aptos Light" panose="020B0004020202020204" pitchFamily="34" charset="0"/>
              </a:rPr>
            </a:br>
            <a:r>
              <a:rPr lang="de-DE" sz="1700" dirty="0">
                <a:solidFill>
                  <a:schemeClr val="tx1"/>
                </a:solidFill>
                <a:latin typeface="Aptos Light" panose="020B0004020202020204" pitchFamily="34" charset="0"/>
                <a:cs typeface="Open Sans"/>
              </a:rPr>
              <a:t>Rasch</a:t>
            </a:r>
          </a:p>
        </p:txBody>
      </p:sp>
      <p:sp>
        <p:nvSpPr>
          <p:cNvPr id="35" name="Textplatzhalter 38">
            <a:extLst>
              <a:ext uri="{FF2B5EF4-FFF2-40B4-BE49-F238E27FC236}">
                <a16:creationId xmlns:a16="http://schemas.microsoft.com/office/drawing/2014/main" id="{797E523F-1AE7-074C-79DD-6130B98A2A1C}"/>
              </a:ext>
            </a:extLst>
          </p:cNvPr>
          <p:cNvSpPr txBox="1">
            <a:spLocks/>
          </p:cNvSpPr>
          <p:nvPr>
            <p:custDataLst>
              <p:tags r:id="rId12"/>
            </p:custDataLst>
          </p:nvPr>
        </p:nvSpPr>
        <p:spPr>
          <a:xfrm>
            <a:off x="9468586" y="4020520"/>
            <a:ext cx="1331339"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tx1"/>
                </a:solidFill>
                <a:latin typeface="Aptos Light" panose="020B0004020202020204" pitchFamily="34" charset="0"/>
              </a:rPr>
              <a:t>Dr. Frank</a:t>
            </a:r>
          </a:p>
          <a:p>
            <a:pPr marL="7620">
              <a:lnSpc>
                <a:spcPts val="1000"/>
              </a:lnSpc>
            </a:pPr>
            <a:r>
              <a:rPr lang="de-DE" sz="1700" dirty="0">
                <a:solidFill>
                  <a:schemeClr val="tx1"/>
                </a:solidFill>
                <a:latin typeface="Aptos Light" panose="020B0004020202020204" pitchFamily="34" charset="0"/>
              </a:rPr>
              <a:t>Schlottmann</a:t>
            </a:r>
            <a:endParaRPr lang="de-DE" sz="1700" dirty="0">
              <a:solidFill>
                <a:schemeClr val="tx1"/>
              </a:solidFill>
              <a:latin typeface="Aptos Light" panose="020B0004020202020204" pitchFamily="34" charset="0"/>
              <a:cs typeface="Open Sans"/>
            </a:endParaRPr>
          </a:p>
        </p:txBody>
      </p:sp>
      <p:sp>
        <p:nvSpPr>
          <p:cNvPr id="36" name="Pfeil: Chevron 33">
            <a:extLst>
              <a:ext uri="{FF2B5EF4-FFF2-40B4-BE49-F238E27FC236}">
                <a16:creationId xmlns:a16="http://schemas.microsoft.com/office/drawing/2014/main" id="{8DF958AF-8E2A-1726-49A5-EC4197B5556F}"/>
              </a:ext>
            </a:extLst>
          </p:cNvPr>
          <p:cNvSpPr>
            <a:spLocks/>
          </p:cNvSpPr>
          <p:nvPr>
            <p:custDataLst>
              <p:tags r:id="rId13"/>
            </p:custDataLst>
          </p:nvPr>
        </p:nvSpPr>
        <p:spPr>
          <a:xfrm flipV="1">
            <a:off x="3473626" y="4117131"/>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37" name="Pfeil: Chevron 33">
            <a:extLst>
              <a:ext uri="{FF2B5EF4-FFF2-40B4-BE49-F238E27FC236}">
                <a16:creationId xmlns:a16="http://schemas.microsoft.com/office/drawing/2014/main" id="{698F057E-9116-C1A2-4CC5-6DA15D861638}"/>
              </a:ext>
            </a:extLst>
          </p:cNvPr>
          <p:cNvSpPr>
            <a:spLocks/>
          </p:cNvSpPr>
          <p:nvPr>
            <p:custDataLst>
              <p:tags r:id="rId14"/>
            </p:custDataLst>
          </p:nvPr>
        </p:nvSpPr>
        <p:spPr>
          <a:xfrm flipV="1">
            <a:off x="6337260" y="4113398"/>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8" name="Pfeil: Chevron 33">
            <a:extLst>
              <a:ext uri="{FF2B5EF4-FFF2-40B4-BE49-F238E27FC236}">
                <a16:creationId xmlns:a16="http://schemas.microsoft.com/office/drawing/2014/main" id="{826C1AB2-8F7E-6E53-07E8-6ADB89B02E5E}"/>
              </a:ext>
            </a:extLst>
          </p:cNvPr>
          <p:cNvSpPr>
            <a:spLocks/>
          </p:cNvSpPr>
          <p:nvPr>
            <p:custDataLst>
              <p:tags r:id="rId15"/>
            </p:custDataLst>
          </p:nvPr>
        </p:nvSpPr>
        <p:spPr>
          <a:xfrm flipV="1">
            <a:off x="9195736" y="4081256"/>
            <a:ext cx="178987" cy="297618"/>
          </a:xfrm>
          <a:prstGeom prst="chevron">
            <a:avLst>
              <a:gd name="adj" fmla="val 5789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grpSp>
        <p:nvGrpSpPr>
          <p:cNvPr id="39" name="Gruppieren 38">
            <a:extLst>
              <a:ext uri="{FF2B5EF4-FFF2-40B4-BE49-F238E27FC236}">
                <a16:creationId xmlns:a16="http://schemas.microsoft.com/office/drawing/2014/main" id="{4461437A-5CBE-78F6-CC77-B7FC77A46583}"/>
              </a:ext>
            </a:extLst>
          </p:cNvPr>
          <p:cNvGrpSpPr/>
          <p:nvPr/>
        </p:nvGrpSpPr>
        <p:grpSpPr>
          <a:xfrm>
            <a:off x="9201398" y="1783912"/>
            <a:ext cx="1832519" cy="1832519"/>
            <a:chOff x="9641141" y="1783912"/>
            <a:chExt cx="1832519" cy="1832519"/>
          </a:xfrm>
        </p:grpSpPr>
        <p:sp>
          <p:nvSpPr>
            <p:cNvPr id="40" name="Ellipse 10">
              <a:extLst>
                <a:ext uri="{FF2B5EF4-FFF2-40B4-BE49-F238E27FC236}">
                  <a16:creationId xmlns:a16="http://schemas.microsoft.com/office/drawing/2014/main" id="{E6B81137-74DE-B9ED-5877-D8F9D1F25422}"/>
                </a:ext>
              </a:extLst>
            </p:cNvPr>
            <p:cNvSpPr/>
            <p:nvPr>
              <p:custDataLst>
                <p:tags r:id="rId18"/>
              </p:custDataLst>
            </p:nvPr>
          </p:nvSpPr>
          <p:spPr>
            <a:xfrm>
              <a:off x="9641141"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41" name="Grafik 40" descr="Ein Bild, das Person, Menschliches Gesicht, Gebäude, Blazer enthält.&#10;&#10;KI-generierte Inhalte können fehlerhaft sein.">
              <a:extLst>
                <a:ext uri="{FF2B5EF4-FFF2-40B4-BE49-F238E27FC236}">
                  <a16:creationId xmlns:a16="http://schemas.microsoft.com/office/drawing/2014/main" id="{C1E52EBC-14A5-47E5-B38E-CEA11B5A2807}"/>
                </a:ext>
              </a:extLst>
            </p:cNvPr>
            <p:cNvPicPr>
              <a:picLocks noChangeAspect="1"/>
            </p:cNvPicPr>
            <p:nvPr/>
          </p:nvPicPr>
          <p:blipFill>
            <a:blip r:embed="rId27"/>
            <a:srcRect l="31739" t="14993" r="22024" b="54182"/>
            <a:stretch>
              <a:fillRect/>
            </a:stretch>
          </p:blipFill>
          <p:spPr>
            <a:xfrm>
              <a:off x="9738826" y="1881427"/>
              <a:ext cx="1637489" cy="1637489"/>
            </a:xfrm>
            <a:prstGeom prst="ellipse">
              <a:avLst/>
            </a:prstGeom>
          </p:spPr>
        </p:pic>
      </p:grpSp>
      <p:grpSp>
        <p:nvGrpSpPr>
          <p:cNvPr id="47" name="Gruppieren 46">
            <a:extLst>
              <a:ext uri="{FF2B5EF4-FFF2-40B4-BE49-F238E27FC236}">
                <a16:creationId xmlns:a16="http://schemas.microsoft.com/office/drawing/2014/main" id="{BFFF28F0-CD54-79E9-D031-20BC2917B5AA}"/>
              </a:ext>
            </a:extLst>
          </p:cNvPr>
          <p:cNvGrpSpPr/>
          <p:nvPr/>
        </p:nvGrpSpPr>
        <p:grpSpPr>
          <a:xfrm>
            <a:off x="6342228" y="1783912"/>
            <a:ext cx="1832519" cy="1832519"/>
            <a:chOff x="7386828" y="1783912"/>
            <a:chExt cx="1832519" cy="1832519"/>
          </a:xfrm>
        </p:grpSpPr>
        <p:sp>
          <p:nvSpPr>
            <p:cNvPr id="48" name="Ellipse 10">
              <a:extLst>
                <a:ext uri="{FF2B5EF4-FFF2-40B4-BE49-F238E27FC236}">
                  <a16:creationId xmlns:a16="http://schemas.microsoft.com/office/drawing/2014/main" id="{8A5AB7CE-CE65-1C4B-3D5F-82861A4368A3}"/>
                </a:ext>
              </a:extLst>
            </p:cNvPr>
            <p:cNvSpPr/>
            <p:nvPr>
              <p:custDataLst>
                <p:tags r:id="rId17"/>
              </p:custDataLst>
            </p:nvPr>
          </p:nvSpPr>
          <p:spPr>
            <a:xfrm>
              <a:off x="7386828"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49" name="Grafik 48">
              <a:extLst>
                <a:ext uri="{FF2B5EF4-FFF2-40B4-BE49-F238E27FC236}">
                  <a16:creationId xmlns:a16="http://schemas.microsoft.com/office/drawing/2014/main" id="{EC61A0BF-547B-2AFD-D8CE-F88A6BF51EAA}"/>
                </a:ext>
              </a:extLst>
            </p:cNvPr>
            <p:cNvPicPr>
              <a:picLocks noChangeAspect="1"/>
            </p:cNvPicPr>
            <p:nvPr/>
          </p:nvPicPr>
          <p:blipFill>
            <a:blip r:embed="rId28"/>
            <a:srcRect l="27940" t="18281" r="28778" b="52866"/>
            <a:stretch>
              <a:fillRect/>
            </a:stretch>
          </p:blipFill>
          <p:spPr>
            <a:xfrm>
              <a:off x="7484343" y="1881427"/>
              <a:ext cx="1637489" cy="1637489"/>
            </a:xfrm>
            <a:prstGeom prst="ellipse">
              <a:avLst/>
            </a:prstGeom>
          </p:spPr>
        </p:pic>
      </p:grpSp>
      <p:grpSp>
        <p:nvGrpSpPr>
          <p:cNvPr id="50" name="Gruppieren 49">
            <a:extLst>
              <a:ext uri="{FF2B5EF4-FFF2-40B4-BE49-F238E27FC236}">
                <a16:creationId xmlns:a16="http://schemas.microsoft.com/office/drawing/2014/main" id="{281E9E22-99F2-7B47-8C8E-30B2A006461D}"/>
              </a:ext>
            </a:extLst>
          </p:cNvPr>
          <p:cNvGrpSpPr/>
          <p:nvPr/>
        </p:nvGrpSpPr>
        <p:grpSpPr>
          <a:xfrm>
            <a:off x="3483058" y="1783912"/>
            <a:ext cx="1832519" cy="1832519"/>
            <a:chOff x="5132515" y="1783912"/>
            <a:chExt cx="1832519" cy="1832519"/>
          </a:xfrm>
        </p:grpSpPr>
        <p:sp>
          <p:nvSpPr>
            <p:cNvPr id="51" name="Ellipse 10">
              <a:extLst>
                <a:ext uri="{FF2B5EF4-FFF2-40B4-BE49-F238E27FC236}">
                  <a16:creationId xmlns:a16="http://schemas.microsoft.com/office/drawing/2014/main" id="{1D9FFCFE-CC66-6332-9519-0FBDEF42BEF4}"/>
                </a:ext>
              </a:extLst>
            </p:cNvPr>
            <p:cNvSpPr/>
            <p:nvPr>
              <p:custDataLst>
                <p:tags r:id="rId16"/>
              </p:custDataLst>
            </p:nvPr>
          </p:nvSpPr>
          <p:spPr>
            <a:xfrm>
              <a:off x="5132515" y="1783912"/>
              <a:ext cx="1832519" cy="1832519"/>
            </a:xfrm>
            <a:prstGeom prst="ellipse">
              <a:avLst/>
            </a:prstGeom>
            <a:blipFill dpi="0" rotWithShape="1">
              <a:blip r:embed="rId25"/>
              <a:srcRect/>
              <a:stretch>
                <a:fillRect b="-2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52" name="Grafik 51">
              <a:extLst>
                <a:ext uri="{FF2B5EF4-FFF2-40B4-BE49-F238E27FC236}">
                  <a16:creationId xmlns:a16="http://schemas.microsoft.com/office/drawing/2014/main" id="{75B0F7D8-5DF1-AB07-DF37-5215D67F67EB}"/>
                </a:ext>
              </a:extLst>
            </p:cNvPr>
            <p:cNvPicPr>
              <a:picLocks noChangeAspect="1"/>
            </p:cNvPicPr>
            <p:nvPr/>
          </p:nvPicPr>
          <p:blipFill>
            <a:blip r:embed="rId29"/>
            <a:srcRect l="23248" t="2856" r="52399" b="65636"/>
            <a:stretch>
              <a:fillRect/>
            </a:stretch>
          </p:blipFill>
          <p:spPr>
            <a:xfrm>
              <a:off x="5230030" y="1881427"/>
              <a:ext cx="1637489" cy="1637489"/>
            </a:xfrm>
            <a:prstGeom prst="ellipse">
              <a:avLst/>
            </a:prstGeom>
          </p:spPr>
        </p:pic>
      </p:grpSp>
    </p:spTree>
    <p:extLst>
      <p:ext uri="{BB962C8B-B14F-4D97-AF65-F5344CB8AC3E}">
        <p14:creationId xmlns:p14="http://schemas.microsoft.com/office/powerpoint/2010/main" val="70710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2FB540BF-1BF0-4C58-5DE0-A5CC547510E9}"/>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2204" y="0"/>
            <a:ext cx="12189794" cy="6859241"/>
          </a:xfrm>
          <a:prstGeom prst="rect">
            <a:avLst/>
          </a:prstGeom>
        </p:spPr>
      </p:pic>
      <p:sp>
        <p:nvSpPr>
          <p:cNvPr id="4" name="Rechteck 3">
            <a:extLst>
              <a:ext uri="{FF2B5EF4-FFF2-40B4-BE49-F238E27FC236}">
                <a16:creationId xmlns:a16="http://schemas.microsoft.com/office/drawing/2014/main" id="{EBA5E3E1-D274-579F-1370-F8AECED2C68B}"/>
              </a:ext>
            </a:extLst>
          </p:cNvPr>
          <p:cNvSpPr/>
          <p:nvPr/>
        </p:nvSpPr>
        <p:spPr>
          <a:xfrm rot="10800000">
            <a:off x="-17419" y="0"/>
            <a:ext cx="12192000" cy="3374571"/>
          </a:xfrm>
          <a:prstGeom prst="rect">
            <a:avLst/>
          </a:prstGeom>
          <a:gradFill flip="none" rotWithShape="1">
            <a:gsLst>
              <a:gs pos="0">
                <a:schemeClr val="tx1">
                  <a:alpha val="39880"/>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Fußzeilenplatzhalter 1">
            <a:extLst>
              <a:ext uri="{FF2B5EF4-FFF2-40B4-BE49-F238E27FC236}">
                <a16:creationId xmlns:a16="http://schemas.microsoft.com/office/drawing/2014/main" id="{C34F63C5-07FD-8C87-E12A-622A2D713C14}"/>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425418" y="6443762"/>
            <a:ext cx="431620" cy="153888"/>
          </a:xfrm>
        </p:spPr>
        <p:txBody>
          <a:bodyPr/>
          <a:lstStyle/>
          <a:p>
            <a:fld id="{B27B0579-4238-4E44-9A9E-134B676F827C}" type="slidenum">
              <a:rPr lang="de-DE" dirty="0" smtClean="0">
                <a:solidFill>
                  <a:schemeClr val="bg1"/>
                </a:solidFill>
              </a:rPr>
              <a:pPr/>
              <a:t>18</a:t>
            </a:fld>
            <a:endParaRPr lang="de-DE">
              <a:solidFill>
                <a:schemeClr val="bg1"/>
              </a:solidFill>
            </a:endParaRPr>
          </a:p>
        </p:txBody>
      </p:sp>
      <p:sp>
        <p:nvSpPr>
          <p:cNvPr id="10" name="Diagonal liegende Ecken des Rechtecks abrunden 9">
            <a:extLst>
              <a:ext uri="{FF2B5EF4-FFF2-40B4-BE49-F238E27FC236}">
                <a16:creationId xmlns:a16="http://schemas.microsoft.com/office/drawing/2014/main" id="{18AB8F19-C0AD-708C-D110-DDCDE7889CEB}"/>
              </a:ext>
            </a:extLst>
          </p:cNvPr>
          <p:cNvSpPr/>
          <p:nvPr/>
        </p:nvSpPr>
        <p:spPr>
          <a:xfrm flipV="1">
            <a:off x="623888" y="4160515"/>
            <a:ext cx="10037207"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2" name="Titel 1">
            <a:extLst>
              <a:ext uri="{FF2B5EF4-FFF2-40B4-BE49-F238E27FC236}">
                <a16:creationId xmlns:a16="http://schemas.microsoft.com/office/drawing/2014/main" id="{665BFA57-7EEE-48CF-05BC-E47D1175E92C}"/>
              </a:ext>
            </a:extLst>
          </p:cNvPr>
          <p:cNvSpPr txBox="1">
            <a:spLocks/>
          </p:cNvSpPr>
          <p:nvPr/>
        </p:nvSpPr>
        <p:spPr>
          <a:xfrm>
            <a:off x="1239312" y="4895522"/>
            <a:ext cx="942178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en-US" sz="4300">
                <a:solidFill>
                  <a:schemeClr val="tx1"/>
                </a:solidFill>
                <a:latin typeface="+mn-lt"/>
              </a:rPr>
              <a:t>Intelligent solutions and IT consulting</a:t>
            </a:r>
          </a:p>
        </p:txBody>
      </p:sp>
      <p:sp>
        <p:nvSpPr>
          <p:cNvPr id="13" name="Untertitel 2">
            <a:extLst>
              <a:ext uri="{FF2B5EF4-FFF2-40B4-BE49-F238E27FC236}">
                <a16:creationId xmlns:a16="http://schemas.microsoft.com/office/drawing/2014/main" id="{7BE58853-F1AC-0D9A-998F-4C51EBCCA0BF}"/>
              </a:ext>
            </a:extLst>
          </p:cNvPr>
          <p:cNvSpPr txBox="1">
            <a:spLocks/>
          </p:cNvSpPr>
          <p:nvPr/>
        </p:nvSpPr>
        <p:spPr>
          <a:xfrm>
            <a:off x="1266181" y="4496542"/>
            <a:ext cx="939491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u="none" strike="noStrike" kern="1200" cap="none" spc="0" normalizeH="0" baseline="0" noProof="0">
                <a:ln>
                  <a:noFill/>
                </a:ln>
                <a:effectLst/>
                <a:uLnTx/>
                <a:uFillTx/>
                <a:cs typeface="Calibri Light"/>
              </a:rPr>
              <a:t>We create </a:t>
            </a:r>
            <a:r>
              <a:rPr kumimoji="0" lang="en-US" sz="1600" u="none" strike="noStrike" kern="1200" cap="none" spc="0" normalizeH="0" baseline="0" noProof="0" err="1">
                <a:ln>
                  <a:noFill/>
                </a:ln>
                <a:effectLst/>
                <a:uLnTx/>
                <a:uFillTx/>
                <a:cs typeface="Calibri Light"/>
              </a:rPr>
              <a:t>ecosytems</a:t>
            </a:r>
            <a:r>
              <a:rPr kumimoji="0" lang="en-US" sz="1600" u="none" strike="noStrike" kern="1200" cap="none" spc="0" normalizeH="0" baseline="0" noProof="0">
                <a:ln>
                  <a:noFill/>
                </a:ln>
                <a:effectLst/>
                <a:uLnTx/>
                <a:uFillTx/>
                <a:cs typeface="Calibri Light"/>
              </a:rPr>
              <a:t> for enabling a better life</a:t>
            </a:r>
          </a:p>
        </p:txBody>
      </p:sp>
      <p:sp>
        <p:nvSpPr>
          <p:cNvPr id="15" name="Ellipse 13">
            <a:extLst>
              <a:ext uri="{FF2B5EF4-FFF2-40B4-BE49-F238E27FC236}">
                <a16:creationId xmlns:a16="http://schemas.microsoft.com/office/drawing/2014/main" id="{31B82BA8-B950-69D9-25A9-35DC9C5BA9D9}"/>
              </a:ext>
            </a:extLst>
          </p:cNvPr>
          <p:cNvSpPr/>
          <p:nvPr/>
        </p:nvSpPr>
        <p:spPr>
          <a:xfrm>
            <a:off x="790715" y="447496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2</a:t>
            </a:r>
          </a:p>
        </p:txBody>
      </p:sp>
      <p:pic>
        <p:nvPicPr>
          <p:cNvPr id="6" name="Grafik 5">
            <a:extLst>
              <a:ext uri="{FF2B5EF4-FFF2-40B4-BE49-F238E27FC236}">
                <a16:creationId xmlns:a16="http://schemas.microsoft.com/office/drawing/2014/main" id="{ED892D4D-3CC6-ACBE-F604-CE1C4EB3184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295772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468ABF95-D197-D209-5901-DCC42D02FA2A}"/>
              </a:ext>
            </a:extLst>
          </p:cNvPr>
          <p:cNvSpPr>
            <a:spLocks noGrp="1"/>
          </p:cNvSpPr>
          <p:nvPr>
            <p:ph type="body" sz="quarter" idx="12"/>
          </p:nvPr>
        </p:nvSpPr>
        <p:spPr>
          <a:xfrm>
            <a:off x="623888" y="296863"/>
            <a:ext cx="9488833" cy="169277"/>
          </a:xfrm>
        </p:spPr>
        <p:txBody>
          <a:bodyPr/>
          <a:lstStyle/>
          <a:p>
            <a:r>
              <a:rPr lang="en-US"/>
              <a:t>IT consulting and intelligent solutions</a:t>
            </a:r>
          </a:p>
        </p:txBody>
      </p:sp>
      <p:sp>
        <p:nvSpPr>
          <p:cNvPr id="2" name="Titel 1">
            <a:extLst>
              <a:ext uri="{FF2B5EF4-FFF2-40B4-BE49-F238E27FC236}">
                <a16:creationId xmlns:a16="http://schemas.microsoft.com/office/drawing/2014/main" id="{4981908C-C44B-EFEA-2CDA-7B9E75235359}"/>
              </a:ext>
            </a:extLst>
          </p:cNvPr>
          <p:cNvSpPr>
            <a:spLocks noGrp="1"/>
          </p:cNvSpPr>
          <p:nvPr>
            <p:ph type="title"/>
          </p:nvPr>
        </p:nvSpPr>
        <p:spPr>
          <a:xfrm>
            <a:off x="623888" y="620713"/>
            <a:ext cx="9488833" cy="738664"/>
          </a:xfrm>
        </p:spPr>
        <p:txBody>
          <a:bodyPr/>
          <a:lstStyle/>
          <a:p>
            <a:r>
              <a:rPr lang="en-US" dirty="0"/>
              <a:t>We support our customers </a:t>
            </a:r>
            <a:r>
              <a:rPr lang="en-US" b="1" dirty="0"/>
              <a:t>from strategy design to technical implementation and the outsourcing of processes</a:t>
            </a:r>
          </a:p>
        </p:txBody>
      </p:sp>
      <p:sp>
        <p:nvSpPr>
          <p:cNvPr id="4" name="Fußzeilenplatzhalter 1">
            <a:extLst>
              <a:ext uri="{FF2B5EF4-FFF2-40B4-BE49-F238E27FC236}">
                <a16:creationId xmlns:a16="http://schemas.microsoft.com/office/drawing/2014/main" id="{0020FF4E-339F-3E35-9A1C-115F7681B719}"/>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a:xfrm>
            <a:off x="11425418" y="6443762"/>
            <a:ext cx="431620" cy="153888"/>
          </a:xfrm>
        </p:spPr>
        <p:txBody>
          <a:bodyPr/>
          <a:lstStyle/>
          <a:p>
            <a:fld id="{B27B0579-4238-4E44-9A9E-134B676F827C}" type="slidenum">
              <a:rPr lang="de-DE" dirty="0" smtClean="0"/>
              <a:pPr/>
              <a:t>19</a:t>
            </a:fld>
            <a:endParaRPr lang="de-DE"/>
          </a:p>
        </p:txBody>
      </p:sp>
      <p:pic>
        <p:nvPicPr>
          <p:cNvPr id="47" name="Grafik 46" descr="Ein Bild, das Person, Kleidung, Mann, Screenshot enthält.&#10;&#10;Automatisch generierte Beschreibung">
            <a:extLst>
              <a:ext uri="{FF2B5EF4-FFF2-40B4-BE49-F238E27FC236}">
                <a16:creationId xmlns:a16="http://schemas.microsoft.com/office/drawing/2014/main" id="{D06D0EDD-99E8-A089-54A7-FF0867C31FAC}"/>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flipH="1">
            <a:off x="5190304" y="2167012"/>
            <a:ext cx="3934549" cy="3855523"/>
          </a:xfrm>
          <a:prstGeom prst="rect">
            <a:avLst/>
          </a:prstGeom>
        </p:spPr>
      </p:pic>
      <p:pic>
        <p:nvPicPr>
          <p:cNvPr id="48" name="Grafik 47" descr="Ein Bild, das Person, Kleidung, Mann, Screenshot enthält.&#10;&#10;Automatisch generierte Beschreibung">
            <a:extLst>
              <a:ext uri="{FF2B5EF4-FFF2-40B4-BE49-F238E27FC236}">
                <a16:creationId xmlns:a16="http://schemas.microsoft.com/office/drawing/2014/main" id="{B9789039-6C54-F135-8B75-9BF7DFBF46B6}"/>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flipH="1">
            <a:off x="3462302" y="2167012"/>
            <a:ext cx="3934549" cy="3855523"/>
          </a:xfrm>
          <a:prstGeom prst="rect">
            <a:avLst/>
          </a:prstGeom>
        </p:spPr>
      </p:pic>
      <p:grpSp>
        <p:nvGrpSpPr>
          <p:cNvPr id="49" name="Gruppieren 48">
            <a:extLst>
              <a:ext uri="{FF2B5EF4-FFF2-40B4-BE49-F238E27FC236}">
                <a16:creationId xmlns:a16="http://schemas.microsoft.com/office/drawing/2014/main" id="{A53FE3F9-F2E2-A699-CACE-DC74BCFD5097}"/>
              </a:ext>
            </a:extLst>
          </p:cNvPr>
          <p:cNvGrpSpPr/>
          <p:nvPr/>
        </p:nvGrpSpPr>
        <p:grpSpPr>
          <a:xfrm flipH="1">
            <a:off x="3360609" y="2003772"/>
            <a:ext cx="5863969" cy="4112568"/>
            <a:chOff x="3216675" y="2003771"/>
            <a:chExt cx="5889291" cy="4130327"/>
          </a:xfrm>
        </p:grpSpPr>
        <p:pic>
          <p:nvPicPr>
            <p:cNvPr id="50" name="Grafik 49" descr="Ein Bild, das Kleidung, Menschliches Gesicht, Mann, Person enthält.&#10;&#10;Automatisch generierte Beschreibung">
              <a:extLst>
                <a:ext uri="{FF2B5EF4-FFF2-40B4-BE49-F238E27FC236}">
                  <a16:creationId xmlns:a16="http://schemas.microsoft.com/office/drawing/2014/main" id="{765BC21E-376E-8577-895C-50CE8775EF6F}"/>
                </a:ext>
              </a:extLst>
            </p:cNvPr>
            <p:cNvPicPr>
              <a:picLocks noChangeAspect="1"/>
            </p:cNvPicPr>
            <p:nvPr/>
          </p:nvPicPr>
          <p:blipFill rotWithShape="1">
            <a:blip r:embed="rId8" cstate="screen">
              <a:alphaModFix/>
              <a:extLst>
                <a:ext uri="{28A0092B-C50C-407E-A947-70E740481C1C}">
                  <a14:useLocalDpi xmlns:a14="http://schemas.microsoft.com/office/drawing/2010/main" val="0"/>
                </a:ext>
              </a:extLst>
            </a:blip>
            <a:srcRect l="21609" t="11847" r="18932" b="32018"/>
            <a:stretch/>
          </p:blipFill>
          <p:spPr>
            <a:xfrm>
              <a:off x="3216675" y="2003771"/>
              <a:ext cx="5889291" cy="4130327"/>
            </a:xfrm>
            <a:prstGeom prst="rect">
              <a:avLst/>
            </a:prstGeom>
          </p:spPr>
        </p:pic>
        <p:sp>
          <p:nvSpPr>
            <p:cNvPr id="51" name="Textfeld 50">
              <a:extLst>
                <a:ext uri="{FF2B5EF4-FFF2-40B4-BE49-F238E27FC236}">
                  <a16:creationId xmlns:a16="http://schemas.microsoft.com/office/drawing/2014/main" id="{39E825EB-E916-F9AF-4141-D3B19B878AC8}"/>
                </a:ext>
              </a:extLst>
            </p:cNvPr>
            <p:cNvSpPr txBox="1"/>
            <p:nvPr/>
          </p:nvSpPr>
          <p:spPr>
            <a:xfrm>
              <a:off x="3382667" y="4064233"/>
              <a:ext cx="5408634" cy="304058"/>
            </a:xfrm>
            <a:prstGeom prst="rect">
              <a:avLst/>
            </a:prstGeom>
            <a:noFill/>
          </p:spPr>
          <p:txBody>
            <a:bodyPr wrap="square" lIns="0" tIns="0" rIns="0" bIns="0">
              <a:spAutoFit/>
            </a:bodyPr>
            <a:lstStyle/>
            <a:p>
              <a:pPr algn="ctr">
                <a:lnSpc>
                  <a:spcPts val="2100"/>
                </a:lnSpc>
              </a:pP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value</a:t>
              </a:r>
              <a:r>
                <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rPr>
                <a:t> – </a:t>
              </a: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inspired</a:t>
              </a:r>
              <a:r>
                <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rPr>
                <a:t> by </a:t>
              </a: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people</a:t>
              </a:r>
              <a:endPar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endParaRPr>
            </a:p>
          </p:txBody>
        </p:sp>
      </p:grpSp>
      <p:grpSp>
        <p:nvGrpSpPr>
          <p:cNvPr id="52" name="Gruppieren 51">
            <a:extLst>
              <a:ext uri="{FF2B5EF4-FFF2-40B4-BE49-F238E27FC236}">
                <a16:creationId xmlns:a16="http://schemas.microsoft.com/office/drawing/2014/main" id="{692FD481-8619-154F-E8A7-8FB8EAEF375E}"/>
              </a:ext>
            </a:extLst>
          </p:cNvPr>
          <p:cNvGrpSpPr/>
          <p:nvPr/>
        </p:nvGrpSpPr>
        <p:grpSpPr>
          <a:xfrm>
            <a:off x="10144547" y="2610591"/>
            <a:ext cx="1720333" cy="537627"/>
            <a:chOff x="10468800" y="406800"/>
            <a:chExt cx="1386000" cy="435600"/>
          </a:xfrm>
          <a:solidFill>
            <a:schemeClr val="accent2"/>
          </a:solidFill>
        </p:grpSpPr>
        <p:sp>
          <p:nvSpPr>
            <p:cNvPr id="53" name="Oval 699">
              <a:extLst>
                <a:ext uri="{FF2B5EF4-FFF2-40B4-BE49-F238E27FC236}">
                  <a16:creationId xmlns:a16="http://schemas.microsoft.com/office/drawing/2014/main" id="{5D97015F-54CA-7FB9-E8FE-C4EDC7BA0376}"/>
                </a:ext>
              </a:extLst>
            </p:cNvPr>
            <p:cNvSpPr>
              <a:spLocks noChangeArrowheads="1"/>
            </p:cNvSpPr>
            <p:nvPr/>
          </p:nvSpPr>
          <p:spPr bwMode="white">
            <a:xfrm>
              <a:off x="10468800" y="597207"/>
              <a:ext cx="144400" cy="14490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700">
              <a:extLst>
                <a:ext uri="{FF2B5EF4-FFF2-40B4-BE49-F238E27FC236}">
                  <a16:creationId xmlns:a16="http://schemas.microsoft.com/office/drawing/2014/main" id="{FE2EAD20-E8CF-199A-F7F5-16B30EEBD55A}"/>
                </a:ext>
              </a:extLst>
            </p:cNvPr>
            <p:cNvSpPr>
              <a:spLocks/>
            </p:cNvSpPr>
            <p:nvPr/>
          </p:nvSpPr>
          <p:spPr bwMode="white">
            <a:xfrm>
              <a:off x="10659838" y="406800"/>
              <a:ext cx="466086" cy="333212"/>
            </a:xfrm>
            <a:custGeom>
              <a:avLst/>
              <a:gdLst>
                <a:gd name="T0" fmla="*/ 0 w 659"/>
                <a:gd name="T1" fmla="*/ 0 h 469"/>
                <a:gd name="T2" fmla="*/ 0 w 659"/>
                <a:gd name="T3" fmla="*/ 469 h 469"/>
                <a:gd name="T4" fmla="*/ 85 w 659"/>
                <a:gd name="T5" fmla="*/ 469 h 469"/>
                <a:gd name="T6" fmla="*/ 85 w 659"/>
                <a:gd name="T7" fmla="*/ 72 h 469"/>
                <a:gd name="T8" fmla="*/ 282 w 659"/>
                <a:gd name="T9" fmla="*/ 72 h 469"/>
                <a:gd name="T10" fmla="*/ 282 w 659"/>
                <a:gd name="T11" fmla="*/ 469 h 469"/>
                <a:gd name="T12" fmla="*/ 367 w 659"/>
                <a:gd name="T13" fmla="*/ 469 h 469"/>
                <a:gd name="T14" fmla="*/ 367 w 659"/>
                <a:gd name="T15" fmla="*/ 72 h 469"/>
                <a:gd name="T16" fmla="*/ 498 w 659"/>
                <a:gd name="T17" fmla="*/ 72 h 469"/>
                <a:gd name="T18" fmla="*/ 573 w 659"/>
                <a:gd name="T19" fmla="*/ 155 h 469"/>
                <a:gd name="T20" fmla="*/ 573 w 659"/>
                <a:gd name="T21" fmla="*/ 469 h 469"/>
                <a:gd name="T22" fmla="*/ 659 w 659"/>
                <a:gd name="T23" fmla="*/ 469 h 469"/>
                <a:gd name="T24" fmla="*/ 659 w 659"/>
                <a:gd name="T25" fmla="*/ 132 h 469"/>
                <a:gd name="T26" fmla="*/ 541 w 659"/>
                <a:gd name="T27" fmla="*/ 0 h 469"/>
                <a:gd name="T28" fmla="*/ 0 w 659"/>
                <a:gd name="T29"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9" h="469">
                  <a:moveTo>
                    <a:pt x="0" y="0"/>
                  </a:moveTo>
                  <a:cubicBezTo>
                    <a:pt x="0" y="469"/>
                    <a:pt x="0" y="469"/>
                    <a:pt x="0" y="469"/>
                  </a:cubicBezTo>
                  <a:cubicBezTo>
                    <a:pt x="85" y="469"/>
                    <a:pt x="85" y="469"/>
                    <a:pt x="85" y="469"/>
                  </a:cubicBezTo>
                  <a:cubicBezTo>
                    <a:pt x="85" y="72"/>
                    <a:pt x="85" y="72"/>
                    <a:pt x="85" y="72"/>
                  </a:cubicBezTo>
                  <a:cubicBezTo>
                    <a:pt x="85" y="72"/>
                    <a:pt x="218" y="72"/>
                    <a:pt x="282" y="72"/>
                  </a:cubicBezTo>
                  <a:cubicBezTo>
                    <a:pt x="282" y="469"/>
                    <a:pt x="282" y="469"/>
                    <a:pt x="282" y="469"/>
                  </a:cubicBezTo>
                  <a:cubicBezTo>
                    <a:pt x="367" y="469"/>
                    <a:pt x="367" y="469"/>
                    <a:pt x="367" y="469"/>
                  </a:cubicBezTo>
                  <a:cubicBezTo>
                    <a:pt x="367" y="72"/>
                    <a:pt x="367" y="72"/>
                    <a:pt x="367" y="72"/>
                  </a:cubicBezTo>
                  <a:cubicBezTo>
                    <a:pt x="424" y="72"/>
                    <a:pt x="472" y="72"/>
                    <a:pt x="498" y="72"/>
                  </a:cubicBezTo>
                  <a:cubicBezTo>
                    <a:pt x="542" y="72"/>
                    <a:pt x="573" y="98"/>
                    <a:pt x="573" y="155"/>
                  </a:cubicBezTo>
                  <a:cubicBezTo>
                    <a:pt x="573" y="469"/>
                    <a:pt x="573" y="469"/>
                    <a:pt x="573" y="469"/>
                  </a:cubicBezTo>
                  <a:cubicBezTo>
                    <a:pt x="659" y="469"/>
                    <a:pt x="659" y="469"/>
                    <a:pt x="659" y="469"/>
                  </a:cubicBezTo>
                  <a:cubicBezTo>
                    <a:pt x="659" y="346"/>
                    <a:pt x="659" y="239"/>
                    <a:pt x="659" y="132"/>
                  </a:cubicBezTo>
                  <a:cubicBezTo>
                    <a:pt x="659" y="68"/>
                    <a:pt x="626" y="0"/>
                    <a:pt x="541" y="0"/>
                  </a:cubicBezTo>
                  <a:cubicBezTo>
                    <a:pt x="0" y="0"/>
                    <a:pt x="0" y="0"/>
                    <a:pt x="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701">
              <a:extLst>
                <a:ext uri="{FF2B5EF4-FFF2-40B4-BE49-F238E27FC236}">
                  <a16:creationId xmlns:a16="http://schemas.microsoft.com/office/drawing/2014/main" id="{B07CE1FC-0C22-BDD6-8677-E91E89A7D165}"/>
                </a:ext>
              </a:extLst>
            </p:cNvPr>
            <p:cNvSpPr>
              <a:spLocks/>
            </p:cNvSpPr>
            <p:nvPr/>
          </p:nvSpPr>
          <p:spPr bwMode="white">
            <a:xfrm>
              <a:off x="11161202" y="406800"/>
              <a:ext cx="330954" cy="333212"/>
            </a:xfrm>
            <a:custGeom>
              <a:avLst/>
              <a:gdLst>
                <a:gd name="T0" fmla="*/ 121 w 468"/>
                <a:gd name="T1" fmla="*/ 0 h 469"/>
                <a:gd name="T2" fmla="*/ 0 w 468"/>
                <a:gd name="T3" fmla="*/ 130 h 469"/>
                <a:gd name="T4" fmla="*/ 115 w 468"/>
                <a:gd name="T5" fmla="*/ 266 h 469"/>
                <a:gd name="T6" fmla="*/ 319 w 468"/>
                <a:gd name="T7" fmla="*/ 266 h 469"/>
                <a:gd name="T8" fmla="*/ 381 w 468"/>
                <a:gd name="T9" fmla="*/ 335 h 469"/>
                <a:gd name="T10" fmla="*/ 320 w 468"/>
                <a:gd name="T11" fmla="*/ 398 h 469"/>
                <a:gd name="T12" fmla="*/ 8 w 468"/>
                <a:gd name="T13" fmla="*/ 398 h 469"/>
                <a:gd name="T14" fmla="*/ 8 w 468"/>
                <a:gd name="T15" fmla="*/ 469 h 469"/>
                <a:gd name="T16" fmla="*/ 356 w 468"/>
                <a:gd name="T17" fmla="*/ 469 h 469"/>
                <a:gd name="T18" fmla="*/ 468 w 468"/>
                <a:gd name="T19" fmla="*/ 336 h 469"/>
                <a:gd name="T20" fmla="*/ 362 w 468"/>
                <a:gd name="T21" fmla="*/ 194 h 469"/>
                <a:gd name="T22" fmla="*/ 142 w 468"/>
                <a:gd name="T23" fmla="*/ 194 h 469"/>
                <a:gd name="T24" fmla="*/ 86 w 468"/>
                <a:gd name="T25" fmla="*/ 132 h 469"/>
                <a:gd name="T26" fmla="*/ 151 w 468"/>
                <a:gd name="T27" fmla="*/ 72 h 469"/>
                <a:gd name="T28" fmla="*/ 452 w 468"/>
                <a:gd name="T29" fmla="*/ 72 h 469"/>
                <a:gd name="T30" fmla="*/ 452 w 468"/>
                <a:gd name="T31" fmla="*/ 0 h 469"/>
                <a:gd name="T32" fmla="*/ 121 w 468"/>
                <a:gd name="T33"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8" h="469">
                  <a:moveTo>
                    <a:pt x="121" y="0"/>
                  </a:moveTo>
                  <a:cubicBezTo>
                    <a:pt x="28" y="0"/>
                    <a:pt x="0" y="62"/>
                    <a:pt x="0" y="130"/>
                  </a:cubicBezTo>
                  <a:cubicBezTo>
                    <a:pt x="0" y="204"/>
                    <a:pt x="31" y="266"/>
                    <a:pt x="115" y="266"/>
                  </a:cubicBezTo>
                  <a:cubicBezTo>
                    <a:pt x="191" y="266"/>
                    <a:pt x="262" y="266"/>
                    <a:pt x="319" y="266"/>
                  </a:cubicBezTo>
                  <a:cubicBezTo>
                    <a:pt x="381" y="266"/>
                    <a:pt x="381" y="314"/>
                    <a:pt x="381" y="335"/>
                  </a:cubicBezTo>
                  <a:cubicBezTo>
                    <a:pt x="381" y="356"/>
                    <a:pt x="381" y="398"/>
                    <a:pt x="320" y="398"/>
                  </a:cubicBezTo>
                  <a:cubicBezTo>
                    <a:pt x="272" y="398"/>
                    <a:pt x="8" y="398"/>
                    <a:pt x="8" y="398"/>
                  </a:cubicBezTo>
                  <a:cubicBezTo>
                    <a:pt x="8" y="398"/>
                    <a:pt x="8" y="449"/>
                    <a:pt x="8" y="469"/>
                  </a:cubicBezTo>
                  <a:cubicBezTo>
                    <a:pt x="356" y="469"/>
                    <a:pt x="356" y="469"/>
                    <a:pt x="356" y="469"/>
                  </a:cubicBezTo>
                  <a:cubicBezTo>
                    <a:pt x="443" y="469"/>
                    <a:pt x="468" y="418"/>
                    <a:pt x="468" y="336"/>
                  </a:cubicBezTo>
                  <a:cubicBezTo>
                    <a:pt x="468" y="238"/>
                    <a:pt x="436" y="194"/>
                    <a:pt x="362" y="194"/>
                  </a:cubicBezTo>
                  <a:cubicBezTo>
                    <a:pt x="274" y="194"/>
                    <a:pt x="213" y="194"/>
                    <a:pt x="142" y="194"/>
                  </a:cubicBezTo>
                  <a:cubicBezTo>
                    <a:pt x="86" y="194"/>
                    <a:pt x="86" y="157"/>
                    <a:pt x="86" y="132"/>
                  </a:cubicBezTo>
                  <a:cubicBezTo>
                    <a:pt x="86" y="112"/>
                    <a:pt x="92" y="72"/>
                    <a:pt x="151" y="72"/>
                  </a:cubicBezTo>
                  <a:cubicBezTo>
                    <a:pt x="214" y="72"/>
                    <a:pt x="452" y="72"/>
                    <a:pt x="452" y="72"/>
                  </a:cubicBezTo>
                  <a:cubicBezTo>
                    <a:pt x="452" y="43"/>
                    <a:pt x="452" y="27"/>
                    <a:pt x="452" y="0"/>
                  </a:cubicBezTo>
                  <a:cubicBezTo>
                    <a:pt x="121" y="0"/>
                    <a:pt x="121" y="0"/>
                    <a:pt x="12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702">
              <a:extLst>
                <a:ext uri="{FF2B5EF4-FFF2-40B4-BE49-F238E27FC236}">
                  <a16:creationId xmlns:a16="http://schemas.microsoft.com/office/drawing/2014/main" id="{6C4F2BDE-3064-7473-04D6-F61231A21599}"/>
                </a:ext>
              </a:extLst>
            </p:cNvPr>
            <p:cNvSpPr>
              <a:spLocks noEditPoints="1"/>
            </p:cNvSpPr>
            <p:nvPr/>
          </p:nvSpPr>
          <p:spPr bwMode="white">
            <a:xfrm>
              <a:off x="11528929" y="406800"/>
              <a:ext cx="325871" cy="435600"/>
            </a:xfrm>
            <a:custGeom>
              <a:avLst/>
              <a:gdLst>
                <a:gd name="T0" fmla="*/ 170 w 461"/>
                <a:gd name="T1" fmla="*/ 0 h 613"/>
                <a:gd name="T2" fmla="*/ 44 w 461"/>
                <a:gd name="T3" fmla="*/ 29 h 613"/>
                <a:gd name="T4" fmla="*/ 0 w 461"/>
                <a:gd name="T5" fmla="*/ 149 h 613"/>
                <a:gd name="T6" fmla="*/ 0 w 461"/>
                <a:gd name="T7" fmla="*/ 233 h 613"/>
                <a:gd name="T8" fmla="*/ 0 w 461"/>
                <a:gd name="T9" fmla="*/ 318 h 613"/>
                <a:gd name="T10" fmla="*/ 47 w 461"/>
                <a:gd name="T11" fmla="*/ 445 h 613"/>
                <a:gd name="T12" fmla="*/ 170 w 461"/>
                <a:gd name="T13" fmla="*/ 469 h 613"/>
                <a:gd name="T14" fmla="*/ 376 w 461"/>
                <a:gd name="T15" fmla="*/ 469 h 613"/>
                <a:gd name="T16" fmla="*/ 376 w 461"/>
                <a:gd name="T17" fmla="*/ 487 h 613"/>
                <a:gd name="T18" fmla="*/ 328 w 461"/>
                <a:gd name="T19" fmla="*/ 538 h 613"/>
                <a:gd name="T20" fmla="*/ 61 w 461"/>
                <a:gd name="T21" fmla="*/ 538 h 613"/>
                <a:gd name="T22" fmla="*/ 61 w 461"/>
                <a:gd name="T23" fmla="*/ 613 h 613"/>
                <a:gd name="T24" fmla="*/ 356 w 461"/>
                <a:gd name="T25" fmla="*/ 613 h 613"/>
                <a:gd name="T26" fmla="*/ 461 w 461"/>
                <a:gd name="T27" fmla="*/ 511 h 613"/>
                <a:gd name="T28" fmla="*/ 461 w 461"/>
                <a:gd name="T29" fmla="*/ 0 h 613"/>
                <a:gd name="T30" fmla="*/ 170 w 461"/>
                <a:gd name="T31" fmla="*/ 0 h 613"/>
                <a:gd name="T32" fmla="*/ 376 w 461"/>
                <a:gd name="T33" fmla="*/ 398 h 613"/>
                <a:gd name="T34" fmla="*/ 196 w 461"/>
                <a:gd name="T35" fmla="*/ 398 h 613"/>
                <a:gd name="T36" fmla="*/ 88 w 461"/>
                <a:gd name="T37" fmla="*/ 333 h 613"/>
                <a:gd name="T38" fmla="*/ 88 w 461"/>
                <a:gd name="T39" fmla="*/ 231 h 613"/>
                <a:gd name="T40" fmla="*/ 88 w 461"/>
                <a:gd name="T41" fmla="*/ 148 h 613"/>
                <a:gd name="T42" fmla="*/ 200 w 461"/>
                <a:gd name="T43" fmla="*/ 72 h 613"/>
                <a:gd name="T44" fmla="*/ 376 w 461"/>
                <a:gd name="T45" fmla="*/ 72 h 613"/>
                <a:gd name="T46" fmla="*/ 376 w 461"/>
                <a:gd name="T47" fmla="*/ 39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1" h="613">
                  <a:moveTo>
                    <a:pt x="170" y="0"/>
                  </a:moveTo>
                  <a:cubicBezTo>
                    <a:pt x="94" y="0"/>
                    <a:pt x="65" y="12"/>
                    <a:pt x="44" y="29"/>
                  </a:cubicBezTo>
                  <a:cubicBezTo>
                    <a:pt x="22" y="47"/>
                    <a:pt x="1" y="70"/>
                    <a:pt x="0" y="149"/>
                  </a:cubicBezTo>
                  <a:cubicBezTo>
                    <a:pt x="0" y="233"/>
                    <a:pt x="0" y="233"/>
                    <a:pt x="0" y="233"/>
                  </a:cubicBezTo>
                  <a:cubicBezTo>
                    <a:pt x="0" y="318"/>
                    <a:pt x="0" y="318"/>
                    <a:pt x="0" y="318"/>
                  </a:cubicBezTo>
                  <a:cubicBezTo>
                    <a:pt x="0" y="402"/>
                    <a:pt x="23" y="425"/>
                    <a:pt x="47" y="445"/>
                  </a:cubicBezTo>
                  <a:cubicBezTo>
                    <a:pt x="63" y="456"/>
                    <a:pt x="89" y="469"/>
                    <a:pt x="170" y="469"/>
                  </a:cubicBezTo>
                  <a:cubicBezTo>
                    <a:pt x="376" y="469"/>
                    <a:pt x="376" y="469"/>
                    <a:pt x="376" y="469"/>
                  </a:cubicBezTo>
                  <a:cubicBezTo>
                    <a:pt x="376" y="469"/>
                    <a:pt x="376" y="484"/>
                    <a:pt x="376" y="487"/>
                  </a:cubicBezTo>
                  <a:cubicBezTo>
                    <a:pt x="376" y="523"/>
                    <a:pt x="369" y="538"/>
                    <a:pt x="328" y="538"/>
                  </a:cubicBezTo>
                  <a:cubicBezTo>
                    <a:pt x="61" y="538"/>
                    <a:pt x="61" y="538"/>
                    <a:pt x="61" y="538"/>
                  </a:cubicBezTo>
                  <a:cubicBezTo>
                    <a:pt x="61" y="613"/>
                    <a:pt x="61" y="613"/>
                    <a:pt x="61" y="613"/>
                  </a:cubicBezTo>
                  <a:cubicBezTo>
                    <a:pt x="356" y="613"/>
                    <a:pt x="356" y="613"/>
                    <a:pt x="356" y="613"/>
                  </a:cubicBezTo>
                  <a:cubicBezTo>
                    <a:pt x="435" y="613"/>
                    <a:pt x="461" y="578"/>
                    <a:pt x="461" y="511"/>
                  </a:cubicBezTo>
                  <a:cubicBezTo>
                    <a:pt x="461" y="0"/>
                    <a:pt x="461" y="0"/>
                    <a:pt x="461" y="0"/>
                  </a:cubicBezTo>
                  <a:lnTo>
                    <a:pt x="170" y="0"/>
                  </a:lnTo>
                  <a:close/>
                  <a:moveTo>
                    <a:pt x="376" y="398"/>
                  </a:moveTo>
                  <a:cubicBezTo>
                    <a:pt x="196" y="398"/>
                    <a:pt x="196" y="398"/>
                    <a:pt x="196" y="398"/>
                  </a:cubicBezTo>
                  <a:cubicBezTo>
                    <a:pt x="143" y="398"/>
                    <a:pt x="89" y="402"/>
                    <a:pt x="88" y="333"/>
                  </a:cubicBezTo>
                  <a:cubicBezTo>
                    <a:pt x="88" y="330"/>
                    <a:pt x="88" y="305"/>
                    <a:pt x="88" y="231"/>
                  </a:cubicBezTo>
                  <a:cubicBezTo>
                    <a:pt x="88" y="169"/>
                    <a:pt x="87" y="154"/>
                    <a:pt x="88" y="148"/>
                  </a:cubicBezTo>
                  <a:cubicBezTo>
                    <a:pt x="91" y="90"/>
                    <a:pt x="112" y="70"/>
                    <a:pt x="200" y="72"/>
                  </a:cubicBezTo>
                  <a:cubicBezTo>
                    <a:pt x="205" y="72"/>
                    <a:pt x="376" y="72"/>
                    <a:pt x="376" y="72"/>
                  </a:cubicBezTo>
                  <a:lnTo>
                    <a:pt x="376" y="39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pic>
        <p:nvPicPr>
          <p:cNvPr id="61" name="Picture 2" descr="msg industry advisors ag - Homepage">
            <a:extLst>
              <a:ext uri="{FF2B5EF4-FFF2-40B4-BE49-F238E27FC236}">
                <a16:creationId xmlns:a16="http://schemas.microsoft.com/office/drawing/2014/main" id="{ED8BFD8A-BDE7-89F7-6471-1AD8E663D772}"/>
              </a:ext>
            </a:extLst>
          </p:cNvPr>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t="-1" b="-4083"/>
          <a:stretch/>
        </p:blipFill>
        <p:spPr bwMode="auto">
          <a:xfrm>
            <a:off x="614160" y="2630888"/>
            <a:ext cx="1609827" cy="517326"/>
          </a:xfrm>
          <a:prstGeom prst="rect">
            <a:avLst/>
          </a:prstGeom>
          <a:noFill/>
          <a:extLst>
            <a:ext uri="{909E8E84-426E-40DD-AFC4-6F175D3DCCD1}">
              <a14:hiddenFill xmlns:a14="http://schemas.microsoft.com/office/drawing/2010/main">
                <a:solidFill>
                  <a:srgbClr val="FFFFFF"/>
                </a:solidFill>
              </a14:hiddenFill>
            </a:ext>
          </a:extLst>
        </p:spPr>
      </p:pic>
      <p:sp>
        <p:nvSpPr>
          <p:cNvPr id="62" name="Textfeld 61">
            <a:extLst>
              <a:ext uri="{FF2B5EF4-FFF2-40B4-BE49-F238E27FC236}">
                <a16:creationId xmlns:a16="http://schemas.microsoft.com/office/drawing/2014/main" id="{29C35EC4-C516-128E-7591-EBBBFD6FBC2B}"/>
              </a:ext>
            </a:extLst>
          </p:cNvPr>
          <p:cNvSpPr txBox="1"/>
          <p:nvPr/>
        </p:nvSpPr>
        <p:spPr>
          <a:xfrm>
            <a:off x="9315483" y="2170294"/>
            <a:ext cx="2549398" cy="273023"/>
          </a:xfrm>
          <a:prstGeom prst="rect">
            <a:avLst/>
          </a:prstGeom>
          <a:noFill/>
        </p:spPr>
        <p:txBody>
          <a:bodyPr wrap="square" lIns="0" tIns="0" rIns="0" bIns="0">
            <a:spAutoFit/>
          </a:bodyPr>
          <a:lstStyle/>
          <a:p>
            <a:pPr algn="r">
              <a:lnSpc>
                <a:spcPts val="2100"/>
              </a:lnSpc>
            </a:pPr>
            <a:r>
              <a:rPr lang="de-DE" sz="2000"/>
              <a:t>Intelligent Solutions</a:t>
            </a:r>
          </a:p>
        </p:txBody>
      </p:sp>
      <p:sp>
        <p:nvSpPr>
          <p:cNvPr id="63" name="Textfeld 62">
            <a:extLst>
              <a:ext uri="{FF2B5EF4-FFF2-40B4-BE49-F238E27FC236}">
                <a16:creationId xmlns:a16="http://schemas.microsoft.com/office/drawing/2014/main" id="{2C2703BD-8BF5-8A57-F278-68240AEE8BE4}"/>
              </a:ext>
            </a:extLst>
          </p:cNvPr>
          <p:cNvSpPr txBox="1"/>
          <p:nvPr/>
        </p:nvSpPr>
        <p:spPr>
          <a:xfrm>
            <a:off x="614160" y="2167012"/>
            <a:ext cx="2268249" cy="273023"/>
          </a:xfrm>
          <a:prstGeom prst="rect">
            <a:avLst/>
          </a:prstGeom>
          <a:noFill/>
        </p:spPr>
        <p:txBody>
          <a:bodyPr wrap="none" lIns="0" tIns="0" rIns="0" bIns="0">
            <a:spAutoFit/>
          </a:bodyPr>
          <a:lstStyle/>
          <a:p>
            <a:pPr algn="r">
              <a:lnSpc>
                <a:spcPts val="2100"/>
              </a:lnSpc>
            </a:pPr>
            <a:r>
              <a:rPr lang="de-DE" sz="2000"/>
              <a:t>Business Consulting</a:t>
            </a:r>
          </a:p>
        </p:txBody>
      </p:sp>
      <p:cxnSp>
        <p:nvCxnSpPr>
          <p:cNvPr id="64" name="Gerade Verbindung 18">
            <a:extLst>
              <a:ext uri="{FF2B5EF4-FFF2-40B4-BE49-F238E27FC236}">
                <a16:creationId xmlns:a16="http://schemas.microsoft.com/office/drawing/2014/main" id="{D71D092C-899E-744E-0117-A6D32B00E0E8}"/>
              </a:ext>
            </a:extLst>
          </p:cNvPr>
          <p:cNvCxnSpPr>
            <a:cxnSpLocks/>
          </p:cNvCxnSpPr>
          <p:nvPr/>
        </p:nvCxnSpPr>
        <p:spPr>
          <a:xfrm flipH="1">
            <a:off x="623360" y="2512291"/>
            <a:ext cx="3584575"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65" name="Gerade Verbindung 19">
            <a:extLst>
              <a:ext uri="{FF2B5EF4-FFF2-40B4-BE49-F238E27FC236}">
                <a16:creationId xmlns:a16="http://schemas.microsoft.com/office/drawing/2014/main" id="{E5D21589-9420-4C87-3E88-69131B71EDD7}"/>
              </a:ext>
            </a:extLst>
          </p:cNvPr>
          <p:cNvCxnSpPr/>
          <p:nvPr/>
        </p:nvCxnSpPr>
        <p:spPr>
          <a:xfrm flipH="1">
            <a:off x="8280305" y="2512291"/>
            <a:ext cx="3584575"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66" name="Textplatzhalter 14">
            <a:extLst>
              <a:ext uri="{FF2B5EF4-FFF2-40B4-BE49-F238E27FC236}">
                <a16:creationId xmlns:a16="http://schemas.microsoft.com/office/drawing/2014/main" id="{91C1BB09-4BB9-5955-EF3D-216D058F210D}"/>
              </a:ext>
            </a:extLst>
          </p:cNvPr>
          <p:cNvSpPr txBox="1">
            <a:spLocks/>
          </p:cNvSpPr>
          <p:nvPr/>
        </p:nvSpPr>
        <p:spPr>
          <a:xfrm>
            <a:off x="627275" y="3425310"/>
            <a:ext cx="2857777" cy="2600712"/>
          </a:xfrm>
          <a:prstGeom prst="rect">
            <a:avLst/>
          </a:prstGeom>
        </p:spPr>
        <p:txBody>
          <a:bodyPr wrap="square" lIns="0" tIns="0" rIns="0" bIns="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latinLnBrk="1">
              <a:lnSpc>
                <a:spcPct val="100000"/>
              </a:lnSpc>
              <a:spcBef>
                <a:spcPts val="600"/>
              </a:spcBef>
            </a:pPr>
            <a:r>
              <a:rPr lang="en-US" sz="1300">
                <a:ea typeface="Calibri"/>
                <a:cs typeface="Calibri"/>
              </a:rPr>
              <a:t>We help you to design and create </a:t>
            </a:r>
            <a:br>
              <a:rPr lang="en-US" sz="1300">
                <a:ea typeface="Calibri"/>
                <a:cs typeface="Calibri"/>
              </a:rPr>
            </a:br>
            <a:r>
              <a:rPr lang="en-US" sz="1300">
                <a:ea typeface="Calibri"/>
                <a:cs typeface="Calibri"/>
              </a:rPr>
              <a:t>cross-industry ecosystems. </a:t>
            </a:r>
          </a:p>
          <a:p>
            <a:pPr latinLnBrk="1">
              <a:lnSpc>
                <a:spcPct val="100000"/>
              </a:lnSpc>
              <a:spcBef>
                <a:spcPts val="600"/>
              </a:spcBef>
            </a:pPr>
            <a:r>
              <a:rPr lang="en-US" sz="1300">
                <a:ea typeface="Calibri"/>
                <a:cs typeface="Calibri"/>
              </a:rPr>
              <a:t>From creating future scenarios </a:t>
            </a:r>
            <a:br>
              <a:rPr lang="en-US" sz="1300">
                <a:ea typeface="Calibri"/>
                <a:cs typeface="Calibri"/>
              </a:rPr>
            </a:br>
            <a:r>
              <a:rPr lang="en-US" sz="1300">
                <a:ea typeface="Calibri"/>
                <a:cs typeface="Calibri"/>
              </a:rPr>
              <a:t>tailored to specific industries to </a:t>
            </a:r>
            <a:br>
              <a:rPr lang="en-US" sz="1300">
                <a:ea typeface="Calibri"/>
                <a:cs typeface="Calibri"/>
              </a:rPr>
            </a:br>
            <a:r>
              <a:rPr lang="en-US" sz="1300">
                <a:ea typeface="Calibri"/>
                <a:cs typeface="Calibri"/>
              </a:rPr>
              <a:t>transforming business models and </a:t>
            </a:r>
            <a:br>
              <a:rPr lang="en-US" sz="1300">
                <a:ea typeface="Calibri"/>
                <a:cs typeface="Calibri"/>
              </a:rPr>
            </a:br>
            <a:r>
              <a:rPr lang="en-US" sz="1300">
                <a:ea typeface="Calibri"/>
                <a:cs typeface="Calibri"/>
              </a:rPr>
              <a:t>ensuring compliance with regulatory </a:t>
            </a:r>
            <a:br>
              <a:rPr lang="en-US" sz="1300">
                <a:ea typeface="Calibri"/>
                <a:cs typeface="Calibri"/>
              </a:rPr>
            </a:br>
            <a:r>
              <a:rPr lang="en-US" sz="1300">
                <a:ea typeface="Calibri"/>
                <a:cs typeface="Calibri"/>
              </a:rPr>
              <a:t>requirements, we stand by your side as your trusted partner. </a:t>
            </a:r>
          </a:p>
          <a:p>
            <a:pPr latinLnBrk="1">
              <a:lnSpc>
                <a:spcPct val="100000"/>
              </a:lnSpc>
              <a:spcBef>
                <a:spcPts val="600"/>
              </a:spcBef>
            </a:pPr>
            <a:r>
              <a:rPr lang="en-US" sz="1300">
                <a:ea typeface="Calibri"/>
                <a:cs typeface="Calibri"/>
              </a:rPr>
              <a:t> </a:t>
            </a:r>
          </a:p>
          <a:p>
            <a:pPr latinLnBrk="1">
              <a:lnSpc>
                <a:spcPct val="100000"/>
              </a:lnSpc>
              <a:spcBef>
                <a:spcPts val="600"/>
              </a:spcBef>
            </a:pPr>
            <a:endParaRPr lang="en-US" sz="1300">
              <a:ea typeface="Calibri"/>
              <a:cs typeface="Calibri"/>
            </a:endParaRPr>
          </a:p>
          <a:p>
            <a:pPr>
              <a:lnSpc>
                <a:spcPct val="100000"/>
              </a:lnSpc>
              <a:spcBef>
                <a:spcPts val="600"/>
              </a:spcBef>
              <a:spcAft>
                <a:spcPts val="600"/>
              </a:spcAft>
            </a:pPr>
            <a:endParaRPr lang="de-DE" sz="1400" noProof="0">
              <a:solidFill>
                <a:schemeClr val="accent1"/>
              </a:solidFill>
              <a:cs typeface="Calibri Light" panose="020F0302020204030204" pitchFamily="34" charset="0"/>
            </a:endParaRPr>
          </a:p>
        </p:txBody>
      </p:sp>
      <p:sp>
        <p:nvSpPr>
          <p:cNvPr id="67" name="Textplatzhalter 14">
            <a:extLst>
              <a:ext uri="{FF2B5EF4-FFF2-40B4-BE49-F238E27FC236}">
                <a16:creationId xmlns:a16="http://schemas.microsoft.com/office/drawing/2014/main" id="{772320ED-3E1B-4DAB-E817-82C5C8D51DFD}"/>
              </a:ext>
            </a:extLst>
          </p:cNvPr>
          <p:cNvSpPr txBox="1">
            <a:spLocks/>
          </p:cNvSpPr>
          <p:nvPr/>
        </p:nvSpPr>
        <p:spPr>
          <a:xfrm>
            <a:off x="8976785" y="3367719"/>
            <a:ext cx="2877173" cy="2440117"/>
          </a:xfrm>
          <a:prstGeom prst="rect">
            <a:avLst/>
          </a:prstGeom>
        </p:spPr>
        <p:txBody>
          <a:bodyPr wrap="square" lIns="0" tIns="0" rIns="0" bIns="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lnSpc>
                <a:spcPct val="100000"/>
              </a:lnSpc>
              <a:spcBef>
                <a:spcPts val="600"/>
              </a:spcBef>
            </a:pPr>
            <a:r>
              <a:rPr lang="en-US" sz="1300">
                <a:ea typeface="Calibri"/>
                <a:cs typeface="Calibri"/>
              </a:rPr>
              <a:t>You benefit from our solid industry </a:t>
            </a:r>
            <a:br>
              <a:rPr lang="en-US" sz="1300">
                <a:ea typeface="Calibri"/>
                <a:cs typeface="Calibri"/>
              </a:rPr>
            </a:br>
            <a:r>
              <a:rPr lang="en-US" sz="1300">
                <a:ea typeface="Calibri"/>
                <a:cs typeface="Calibri"/>
              </a:rPr>
              <a:t>expertise, technological proficiency, </a:t>
            </a:r>
            <a:br>
              <a:rPr lang="en-US" sz="1300">
                <a:ea typeface="Calibri"/>
                <a:cs typeface="Calibri"/>
              </a:rPr>
            </a:br>
            <a:r>
              <a:rPr lang="en-US" sz="1300">
                <a:ea typeface="Calibri"/>
                <a:cs typeface="Calibri"/>
              </a:rPr>
              <a:t>and implementation experience. </a:t>
            </a:r>
          </a:p>
          <a:p>
            <a:pPr algn="r">
              <a:lnSpc>
                <a:spcPct val="100000"/>
              </a:lnSpc>
              <a:spcBef>
                <a:spcPts val="600"/>
              </a:spcBef>
            </a:pPr>
            <a:r>
              <a:rPr lang="en-US" sz="1300">
                <a:ea typeface="Calibri"/>
                <a:cs typeface="Calibri"/>
              </a:rPr>
              <a:t>We implement digital solutions to </a:t>
            </a:r>
            <a:br>
              <a:rPr lang="en-US" sz="1300">
                <a:ea typeface="Calibri"/>
                <a:cs typeface="Calibri"/>
              </a:rPr>
            </a:br>
            <a:r>
              <a:rPr lang="en-US" sz="1300">
                <a:ea typeface="Calibri"/>
                <a:cs typeface="Calibri"/>
              </a:rPr>
              <a:t>address the evolving needs of </a:t>
            </a:r>
            <a:br>
              <a:rPr lang="en-US" sz="1300">
                <a:ea typeface="Calibri"/>
                <a:cs typeface="Calibri"/>
              </a:rPr>
            </a:br>
            <a:r>
              <a:rPr lang="en-US" sz="1300">
                <a:ea typeface="Calibri"/>
                <a:cs typeface="Calibri"/>
              </a:rPr>
              <a:t>industry-specific business  models, </a:t>
            </a:r>
            <a:br>
              <a:rPr lang="en-US" sz="1300">
                <a:ea typeface="Calibri"/>
                <a:cs typeface="Calibri"/>
              </a:rPr>
            </a:br>
            <a:r>
              <a:rPr lang="en-US" sz="1300">
                <a:ea typeface="Calibri"/>
                <a:cs typeface="Calibri"/>
              </a:rPr>
              <a:t>thus, guaranteeing an enhanced performance, efficiency, and sustainability across the entire organization.</a:t>
            </a:r>
          </a:p>
          <a:p>
            <a:pPr algn="r">
              <a:lnSpc>
                <a:spcPct val="100000"/>
              </a:lnSpc>
              <a:spcBef>
                <a:spcPts val="600"/>
              </a:spcBef>
            </a:pPr>
            <a:r>
              <a:rPr lang="en-US" sz="1300">
                <a:ea typeface="Calibri"/>
                <a:cs typeface="Calibri"/>
              </a:rPr>
              <a:t> </a:t>
            </a:r>
          </a:p>
          <a:p>
            <a:pPr algn="r">
              <a:lnSpc>
                <a:spcPct val="100000"/>
              </a:lnSpc>
              <a:spcBef>
                <a:spcPts val="600"/>
              </a:spcBef>
            </a:pPr>
            <a:r>
              <a:rPr lang="en-US" sz="1300">
                <a:ea typeface="Calibri"/>
                <a:cs typeface="Calibri"/>
              </a:rPr>
              <a:t> </a:t>
            </a:r>
          </a:p>
          <a:p>
            <a:pPr algn="r">
              <a:lnSpc>
                <a:spcPct val="100000"/>
              </a:lnSpc>
              <a:spcBef>
                <a:spcPts val="600"/>
              </a:spcBef>
            </a:pPr>
            <a:endParaRPr lang="de-DE" sz="1400">
              <a:ea typeface="Calibri"/>
              <a:cs typeface="Calibri Light"/>
            </a:endParaRPr>
          </a:p>
        </p:txBody>
      </p:sp>
    </p:spTree>
    <p:extLst>
      <p:ext uri="{BB962C8B-B14F-4D97-AF65-F5344CB8AC3E}">
        <p14:creationId xmlns:p14="http://schemas.microsoft.com/office/powerpoint/2010/main" val="312138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anim calcmode="lin" valueType="num">
                                      <p:cBhvr additive="base">
                                        <p:cTn id="7" dur="750" fill="hold"/>
                                        <p:tgtEl>
                                          <p:spTgt spid="63"/>
                                        </p:tgtEl>
                                        <p:attrNameLst>
                                          <p:attrName>ppt_x</p:attrName>
                                        </p:attrNameLst>
                                      </p:cBhvr>
                                      <p:tavLst>
                                        <p:tav tm="0">
                                          <p:val>
                                            <p:strVal val="0-#ppt_w/2"/>
                                          </p:val>
                                        </p:tav>
                                        <p:tav tm="100000">
                                          <p:val>
                                            <p:strVal val="#ppt_x"/>
                                          </p:val>
                                        </p:tav>
                                      </p:tavLst>
                                    </p:anim>
                                    <p:anim calcmode="lin" valueType="num">
                                      <p:cBhvr additive="base">
                                        <p:cTn id="8" dur="750" fill="hold"/>
                                        <p:tgtEl>
                                          <p:spTgt spid="63"/>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64"/>
                                        </p:tgtEl>
                                        <p:attrNameLst>
                                          <p:attrName>style.visibility</p:attrName>
                                        </p:attrNameLst>
                                      </p:cBhvr>
                                      <p:to>
                                        <p:strVal val="visible"/>
                                      </p:to>
                                    </p:set>
                                    <p:anim calcmode="lin" valueType="num">
                                      <p:cBhvr additive="base">
                                        <p:cTn id="11" dur="750" fill="hold"/>
                                        <p:tgtEl>
                                          <p:spTgt spid="64"/>
                                        </p:tgtEl>
                                        <p:attrNameLst>
                                          <p:attrName>ppt_x</p:attrName>
                                        </p:attrNameLst>
                                      </p:cBhvr>
                                      <p:tavLst>
                                        <p:tav tm="0">
                                          <p:val>
                                            <p:strVal val="0-#ppt_w/2"/>
                                          </p:val>
                                        </p:tav>
                                        <p:tav tm="100000">
                                          <p:val>
                                            <p:strVal val="#ppt_x"/>
                                          </p:val>
                                        </p:tav>
                                      </p:tavLst>
                                    </p:anim>
                                    <p:anim calcmode="lin" valueType="num">
                                      <p:cBhvr additive="base">
                                        <p:cTn id="12" dur="750" fill="hold"/>
                                        <p:tgtEl>
                                          <p:spTgt spid="64"/>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2" presetClass="entr" presetSubtype="8" fill="hold" nodeType="afterEffect">
                                  <p:stCondLst>
                                    <p:cond delay="0"/>
                                  </p:stCondLst>
                                  <p:childTnLst>
                                    <p:set>
                                      <p:cBhvr>
                                        <p:cTn id="15" dur="1" fill="hold">
                                          <p:stCondLst>
                                            <p:cond delay="0"/>
                                          </p:stCondLst>
                                        </p:cTn>
                                        <p:tgtEl>
                                          <p:spTgt spid="48"/>
                                        </p:tgtEl>
                                        <p:attrNameLst>
                                          <p:attrName>style.visibility</p:attrName>
                                        </p:attrNameLst>
                                      </p:cBhvr>
                                      <p:to>
                                        <p:strVal val="visible"/>
                                      </p:to>
                                    </p:set>
                                    <p:anim calcmode="lin" valueType="num">
                                      <p:cBhvr additive="base">
                                        <p:cTn id="16" dur="750" fill="hold"/>
                                        <p:tgtEl>
                                          <p:spTgt spid="48"/>
                                        </p:tgtEl>
                                        <p:attrNameLst>
                                          <p:attrName>ppt_x</p:attrName>
                                        </p:attrNameLst>
                                      </p:cBhvr>
                                      <p:tavLst>
                                        <p:tav tm="0">
                                          <p:val>
                                            <p:strVal val="0-#ppt_w/2"/>
                                          </p:val>
                                        </p:tav>
                                        <p:tav tm="100000">
                                          <p:val>
                                            <p:strVal val="#ppt_x"/>
                                          </p:val>
                                        </p:tav>
                                      </p:tavLst>
                                    </p:anim>
                                    <p:anim calcmode="lin" valueType="num">
                                      <p:cBhvr additive="base">
                                        <p:cTn id="17" dur="750" fill="hold"/>
                                        <p:tgtEl>
                                          <p:spTgt spid="48"/>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fade">
                                      <p:cBhvr>
                                        <p:cTn id="21" dur="500"/>
                                        <p:tgtEl>
                                          <p:spTgt spid="61"/>
                                        </p:tgtEl>
                                      </p:cBhvr>
                                    </p:animEffect>
                                  </p:childTnLst>
                                </p:cTn>
                              </p:par>
                            </p:childTnLst>
                          </p:cTn>
                        </p:par>
                        <p:par>
                          <p:cTn id="22" fill="hold">
                            <p:stCondLst>
                              <p:cond delay="2000"/>
                            </p:stCondLst>
                            <p:childTnLst>
                              <p:par>
                                <p:cTn id="23" presetID="2" presetClass="entr" presetSubtype="2" fill="hold" grpId="0" nodeType="afterEffect">
                                  <p:stCondLst>
                                    <p:cond delay="0"/>
                                  </p:stCondLst>
                                  <p:childTnLst>
                                    <p:set>
                                      <p:cBhvr>
                                        <p:cTn id="24" dur="1" fill="hold">
                                          <p:stCondLst>
                                            <p:cond delay="0"/>
                                          </p:stCondLst>
                                        </p:cTn>
                                        <p:tgtEl>
                                          <p:spTgt spid="62"/>
                                        </p:tgtEl>
                                        <p:attrNameLst>
                                          <p:attrName>style.visibility</p:attrName>
                                        </p:attrNameLst>
                                      </p:cBhvr>
                                      <p:to>
                                        <p:strVal val="visible"/>
                                      </p:to>
                                    </p:set>
                                    <p:anim calcmode="lin" valueType="num">
                                      <p:cBhvr additive="base">
                                        <p:cTn id="25" dur="750" fill="hold"/>
                                        <p:tgtEl>
                                          <p:spTgt spid="62"/>
                                        </p:tgtEl>
                                        <p:attrNameLst>
                                          <p:attrName>ppt_x</p:attrName>
                                        </p:attrNameLst>
                                      </p:cBhvr>
                                      <p:tavLst>
                                        <p:tav tm="0">
                                          <p:val>
                                            <p:strVal val="1+#ppt_w/2"/>
                                          </p:val>
                                        </p:tav>
                                        <p:tav tm="100000">
                                          <p:val>
                                            <p:strVal val="#ppt_x"/>
                                          </p:val>
                                        </p:tav>
                                      </p:tavLst>
                                    </p:anim>
                                    <p:anim calcmode="lin" valueType="num">
                                      <p:cBhvr additive="base">
                                        <p:cTn id="26" dur="750" fill="hold"/>
                                        <p:tgtEl>
                                          <p:spTgt spid="62"/>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65"/>
                                        </p:tgtEl>
                                        <p:attrNameLst>
                                          <p:attrName>style.visibility</p:attrName>
                                        </p:attrNameLst>
                                      </p:cBhvr>
                                      <p:to>
                                        <p:strVal val="visible"/>
                                      </p:to>
                                    </p:set>
                                    <p:anim calcmode="lin" valueType="num">
                                      <p:cBhvr additive="base">
                                        <p:cTn id="29" dur="750" fill="hold"/>
                                        <p:tgtEl>
                                          <p:spTgt spid="65"/>
                                        </p:tgtEl>
                                        <p:attrNameLst>
                                          <p:attrName>ppt_x</p:attrName>
                                        </p:attrNameLst>
                                      </p:cBhvr>
                                      <p:tavLst>
                                        <p:tav tm="0">
                                          <p:val>
                                            <p:strVal val="1+#ppt_w/2"/>
                                          </p:val>
                                        </p:tav>
                                        <p:tav tm="100000">
                                          <p:val>
                                            <p:strVal val="#ppt_x"/>
                                          </p:val>
                                        </p:tav>
                                      </p:tavLst>
                                    </p:anim>
                                    <p:anim calcmode="lin" valueType="num">
                                      <p:cBhvr additive="base">
                                        <p:cTn id="30" dur="750" fill="hold"/>
                                        <p:tgtEl>
                                          <p:spTgt spid="65"/>
                                        </p:tgtEl>
                                        <p:attrNameLst>
                                          <p:attrName>ppt_y</p:attrName>
                                        </p:attrNameLst>
                                      </p:cBhvr>
                                      <p:tavLst>
                                        <p:tav tm="0">
                                          <p:val>
                                            <p:strVal val="#ppt_y"/>
                                          </p:val>
                                        </p:tav>
                                        <p:tav tm="100000">
                                          <p:val>
                                            <p:strVal val="#ppt_y"/>
                                          </p:val>
                                        </p:tav>
                                      </p:tavLst>
                                    </p:anim>
                                  </p:childTnLst>
                                </p:cTn>
                              </p:par>
                            </p:childTnLst>
                          </p:cTn>
                        </p:par>
                        <p:par>
                          <p:cTn id="31" fill="hold">
                            <p:stCondLst>
                              <p:cond delay="2750"/>
                            </p:stCondLst>
                            <p:childTnLst>
                              <p:par>
                                <p:cTn id="32" presetID="2" presetClass="entr" presetSubtype="2"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 calcmode="lin" valueType="num">
                                      <p:cBhvr additive="base">
                                        <p:cTn id="34" dur="750" fill="hold"/>
                                        <p:tgtEl>
                                          <p:spTgt spid="47"/>
                                        </p:tgtEl>
                                        <p:attrNameLst>
                                          <p:attrName>ppt_x</p:attrName>
                                        </p:attrNameLst>
                                      </p:cBhvr>
                                      <p:tavLst>
                                        <p:tav tm="0">
                                          <p:val>
                                            <p:strVal val="1+#ppt_w/2"/>
                                          </p:val>
                                        </p:tav>
                                        <p:tav tm="100000">
                                          <p:val>
                                            <p:strVal val="#ppt_x"/>
                                          </p:val>
                                        </p:tav>
                                      </p:tavLst>
                                    </p:anim>
                                    <p:anim calcmode="lin" valueType="num">
                                      <p:cBhvr additive="base">
                                        <p:cTn id="35" dur="750" fill="hold"/>
                                        <p:tgtEl>
                                          <p:spTgt spid="47"/>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nodeType="after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fade">
                                      <p:cBhvr>
                                        <p:cTn id="39" dur="500"/>
                                        <p:tgtEl>
                                          <p:spTgt spid="52"/>
                                        </p:tgtEl>
                                      </p:cBhvr>
                                    </p:animEffect>
                                  </p:childTnLst>
                                </p:cTn>
                              </p:par>
                            </p:childTnLst>
                          </p:cTn>
                        </p:par>
                        <p:par>
                          <p:cTn id="40" fill="hold">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66"/>
                                        </p:tgtEl>
                                        <p:attrNameLst>
                                          <p:attrName>style.visibility</p:attrName>
                                        </p:attrNameLst>
                                      </p:cBhvr>
                                      <p:to>
                                        <p:strVal val="visible"/>
                                      </p:to>
                                    </p:set>
                                    <p:animEffect transition="in" filter="fade">
                                      <p:cBhvr>
                                        <p:cTn id="43" dur="500"/>
                                        <p:tgtEl>
                                          <p:spTgt spid="66"/>
                                        </p:tgtEl>
                                      </p:cBhvr>
                                    </p:animEffect>
                                  </p:childTnLst>
                                </p:cTn>
                              </p:par>
                            </p:childTnLst>
                          </p:cTn>
                        </p:par>
                        <p:par>
                          <p:cTn id="44" fill="hold">
                            <p:stCondLst>
                              <p:cond delay="4500"/>
                            </p:stCondLst>
                            <p:childTnLst>
                              <p:par>
                                <p:cTn id="45" presetID="10" presetClass="entr" presetSubtype="0" fill="hold" grpId="0" nodeType="afterEffect">
                                  <p:stCondLst>
                                    <p:cond delay="0"/>
                                  </p:stCondLst>
                                  <p:childTnLst>
                                    <p:set>
                                      <p:cBhvr>
                                        <p:cTn id="46" dur="1" fill="hold">
                                          <p:stCondLst>
                                            <p:cond delay="0"/>
                                          </p:stCondLst>
                                        </p:cTn>
                                        <p:tgtEl>
                                          <p:spTgt spid="67"/>
                                        </p:tgtEl>
                                        <p:attrNameLst>
                                          <p:attrName>style.visibility</p:attrName>
                                        </p:attrNameLst>
                                      </p:cBhvr>
                                      <p:to>
                                        <p:strVal val="visible"/>
                                      </p:to>
                                    </p:set>
                                    <p:animEffect transition="in" filter="fade">
                                      <p:cBhvr>
                                        <p:cTn id="47" dur="500"/>
                                        <p:tgtEl>
                                          <p:spTgt spid="67"/>
                                        </p:tgtEl>
                                      </p:cBhvr>
                                    </p:animEffect>
                                  </p:childTnLst>
                                </p:cTn>
                              </p:par>
                            </p:childTnLst>
                          </p:cTn>
                        </p:par>
                        <p:par>
                          <p:cTn id="48" fill="hold">
                            <p:stCondLst>
                              <p:cond delay="5000"/>
                            </p:stCondLst>
                            <p:childTnLst>
                              <p:par>
                                <p:cTn id="49" presetID="10" presetClass="entr" presetSubtype="0" fill="hold" nodeType="afterEffect">
                                  <p:stCondLst>
                                    <p:cond delay="0"/>
                                  </p:stCondLst>
                                  <p:childTnLst>
                                    <p:set>
                                      <p:cBhvr>
                                        <p:cTn id="50" dur="1" fill="hold">
                                          <p:stCondLst>
                                            <p:cond delay="0"/>
                                          </p:stCondLst>
                                        </p:cTn>
                                        <p:tgtEl>
                                          <p:spTgt spid="49"/>
                                        </p:tgtEl>
                                        <p:attrNameLst>
                                          <p:attrName>style.visibility</p:attrName>
                                        </p:attrNameLst>
                                      </p:cBhvr>
                                      <p:to>
                                        <p:strVal val="visible"/>
                                      </p:to>
                                    </p:set>
                                    <p:animEffect transition="in" filter="fade">
                                      <p:cBhvr>
                                        <p:cTn id="5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3" grpId="0"/>
      <p:bldP spid="66" grpId="0"/>
      <p:bldP spid="6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28">
            <a:extLst>
              <a:ext uri="{FF2B5EF4-FFF2-40B4-BE49-F238E27FC236}">
                <a16:creationId xmlns:a16="http://schemas.microsoft.com/office/drawing/2014/main" id="{44E3A62E-058B-21E7-D579-0B44ABDA4935}"/>
              </a:ext>
            </a:extLst>
          </p:cNvPr>
          <p:cNvPicPr>
            <a:picLocks noGrp="1" noChangeAspect="1"/>
          </p:cNvPicPr>
          <p:nvPr>
            <p:ph type="pic" sz="quarter" idx="11"/>
          </p:nvPr>
        </p:nvPicPr>
        <p:blipFill>
          <a:blip r:embed="rId4"/>
          <a:srcRect/>
          <a:stretch/>
        </p:blipFill>
        <p:spPr bwMode="gray"/>
      </p:pic>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bwMode="gray"/>
        <p:txBody>
          <a:bodyPr vert="horz"/>
          <a:lstStyle/>
          <a:p>
            <a:r>
              <a:rPr lang="de-DE" err="1"/>
              <a:t>Accelerating</a:t>
            </a:r>
            <a:r>
              <a:rPr lang="de-DE"/>
              <a:t> Transformation</a:t>
            </a:r>
          </a:p>
        </p:txBody>
      </p:sp>
      <p:sp>
        <p:nvSpPr>
          <p:cNvPr id="19" name="Textplatzhalter 18">
            <a:extLst>
              <a:ext uri="{FF2B5EF4-FFF2-40B4-BE49-F238E27FC236}">
                <a16:creationId xmlns:a16="http://schemas.microsoft.com/office/drawing/2014/main" id="{E72BC890-CE43-CDBD-F271-1868C140BC5F}"/>
              </a:ext>
            </a:extLst>
          </p:cNvPr>
          <p:cNvSpPr>
            <a:spLocks noGrp="1"/>
          </p:cNvSpPr>
          <p:nvPr>
            <p:ph type="body" sz="quarter" idx="10"/>
          </p:nvPr>
        </p:nvSpPr>
        <p:spPr bwMode="gray">
          <a:xfrm>
            <a:off x="2082801" y="4645214"/>
            <a:ext cx="6426200" cy="369332"/>
          </a:xfrm>
        </p:spPr>
        <p:txBody>
          <a:bodyPr/>
          <a:lstStyle/>
          <a:p>
            <a:r>
              <a:rPr lang="en-US" dirty="0"/>
              <a:t>Consulting, software and services </a:t>
            </a:r>
            <a:br>
              <a:rPr lang="en-US" dirty="0"/>
            </a:br>
            <a:r>
              <a:rPr lang="en-US" dirty="0"/>
              <a:t>to enhance your competitive edge</a:t>
            </a:r>
            <a:endParaRPr lang="de-DE" dirty="0"/>
          </a:p>
        </p:txBody>
      </p:sp>
      <p:sp>
        <p:nvSpPr>
          <p:cNvPr id="2" name="Textplatzhalter 1">
            <a:extLst>
              <a:ext uri="{FF2B5EF4-FFF2-40B4-BE49-F238E27FC236}">
                <a16:creationId xmlns:a16="http://schemas.microsoft.com/office/drawing/2014/main" id="{0881F21A-B35C-36ED-384E-E4515546A3E7}"/>
              </a:ext>
            </a:extLst>
          </p:cNvPr>
          <p:cNvSpPr>
            <a:spLocks noGrp="1"/>
          </p:cNvSpPr>
          <p:nvPr>
            <p:ph type="body" sz="quarter" idx="12"/>
          </p:nvPr>
        </p:nvSpPr>
        <p:spPr/>
        <p:txBody>
          <a:bodyPr/>
          <a:lstStyle/>
          <a:p>
            <a:endParaRPr lang="de-DE"/>
          </a:p>
        </p:txBody>
      </p:sp>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749A676-411F-F957-76EA-0C4FDF0CF92C}"/>
              </a:ext>
            </a:extLst>
          </p:cNvPr>
          <p:cNvSpPr txBox="1"/>
          <p:nvPr/>
        </p:nvSpPr>
        <p:spPr>
          <a:xfrm>
            <a:off x="2082800" y="5779723"/>
            <a:ext cx="3517899" cy="215444"/>
          </a:xfrm>
          <a:prstGeom prst="rect">
            <a:avLst/>
          </a:prstGeom>
        </p:spPr>
        <p:txBody>
          <a:bodyPr vert="horz" wrap="square" lIns="0" tIns="0" rIns="0" bIns="0" rtlCol="0" anchor="t">
            <a:spAutoFit/>
          </a:bodyPr>
          <a:lstStyle/>
          <a:p>
            <a:r>
              <a:rPr lang="de-DE" sz="1400" dirty="0" err="1"/>
              <a:t>msg</a:t>
            </a:r>
            <a:r>
              <a:rPr lang="de-DE" sz="1400" dirty="0"/>
              <a:t> Company </a:t>
            </a:r>
            <a:r>
              <a:rPr lang="de-DE" sz="1400" dirty="0" err="1"/>
              <a:t>Presentation</a:t>
            </a:r>
            <a:r>
              <a:rPr lang="de-DE" sz="1400" dirty="0"/>
              <a:t> 2026</a:t>
            </a:r>
          </a:p>
        </p:txBody>
      </p:sp>
    </p:spTree>
    <p:extLst>
      <p:ext uri="{BB962C8B-B14F-4D97-AF65-F5344CB8AC3E}">
        <p14:creationId xmlns:p14="http://schemas.microsoft.com/office/powerpoint/2010/main" val="12741159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FE9A0B23-9332-5962-EEE3-1B6741ED3F13}"/>
              </a:ext>
            </a:extLst>
          </p:cNvPr>
          <p:cNvSpPr/>
          <p:nvPr/>
        </p:nvSpPr>
        <p:spPr>
          <a:xfrm>
            <a:off x="0" y="1773238"/>
            <a:ext cx="12192000" cy="44098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pic>
        <p:nvPicPr>
          <p:cNvPr id="14" name="Grafik 13" descr="Ein Bild, das Schrift, Text, Screenshot, Schwarz enthält.&#10;&#10;Automatisch generierte Beschreibung">
            <a:extLst>
              <a:ext uri="{FF2B5EF4-FFF2-40B4-BE49-F238E27FC236}">
                <a16:creationId xmlns:a16="http://schemas.microsoft.com/office/drawing/2014/main" id="{FD6E832B-779C-48CD-758D-51840929350D}"/>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t="28655" b="36802"/>
          <a:stretch/>
        </p:blipFill>
        <p:spPr>
          <a:xfrm>
            <a:off x="392441" y="1846262"/>
            <a:ext cx="5703559" cy="507345"/>
          </a:xfrm>
          <a:prstGeom prst="rect">
            <a:avLst/>
          </a:prstGeom>
        </p:spPr>
      </p:pic>
      <p:pic>
        <p:nvPicPr>
          <p:cNvPr id="22" name="Grafik 21">
            <a:extLst>
              <a:ext uri="{FF2B5EF4-FFF2-40B4-BE49-F238E27FC236}">
                <a16:creationId xmlns:a16="http://schemas.microsoft.com/office/drawing/2014/main" id="{E0F0D384-6719-CB19-54B5-FC68140AD5B0}"/>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t="-25792"/>
          <a:stretch/>
        </p:blipFill>
        <p:spPr bwMode="invGray">
          <a:xfrm>
            <a:off x="7921079" y="2344056"/>
            <a:ext cx="4270921" cy="3839030"/>
          </a:xfrm>
          <a:prstGeom prst="rect">
            <a:avLst/>
          </a:prstGeom>
          <a:solidFill>
            <a:srgbClr val="000000"/>
          </a:solidFill>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Textplatzhalter 24">
            <a:extLst>
              <a:ext uri="{FF2B5EF4-FFF2-40B4-BE49-F238E27FC236}">
                <a16:creationId xmlns:a16="http://schemas.microsoft.com/office/drawing/2014/main" id="{6E452D9B-9DE0-BF26-8D15-814051E744C0}"/>
              </a:ext>
            </a:extLst>
          </p:cNvPr>
          <p:cNvSpPr>
            <a:spLocks noGrp="1"/>
          </p:cNvSpPr>
          <p:nvPr>
            <p:ph type="body" sz="quarter" idx="12"/>
          </p:nvPr>
        </p:nvSpPr>
        <p:spPr>
          <a:xfrm>
            <a:off x="623888" y="296863"/>
            <a:ext cx="9488833" cy="169277"/>
          </a:xfrm>
        </p:spPr>
        <p:txBody>
          <a:bodyPr/>
          <a:lstStyle/>
          <a:p>
            <a:r>
              <a:rPr lang="en-US"/>
              <a:t>Intelligent solutions and IT consulting</a:t>
            </a:r>
          </a:p>
        </p:txBody>
      </p:sp>
      <p:sp>
        <p:nvSpPr>
          <p:cNvPr id="11" name="Titel 10">
            <a:extLst>
              <a:ext uri="{FF2B5EF4-FFF2-40B4-BE49-F238E27FC236}">
                <a16:creationId xmlns:a16="http://schemas.microsoft.com/office/drawing/2014/main" id="{331CFD83-6FCE-E700-B99F-30C5FAC2C28B}"/>
              </a:ext>
            </a:extLst>
          </p:cNvPr>
          <p:cNvSpPr>
            <a:spLocks noGrp="1"/>
          </p:cNvSpPr>
          <p:nvPr>
            <p:ph type="title"/>
          </p:nvPr>
        </p:nvSpPr>
        <p:spPr>
          <a:xfrm>
            <a:off x="623888" y="620713"/>
            <a:ext cx="9488833" cy="738664"/>
          </a:xfrm>
        </p:spPr>
        <p:txBody>
          <a:bodyPr/>
          <a:lstStyle/>
          <a:p>
            <a:r>
              <a:rPr lang="en-US" b="1" dirty="0"/>
              <a:t>Core competence Digitalization</a:t>
            </a:r>
            <a:br>
              <a:rPr lang="en-US" dirty="0"/>
            </a:br>
            <a:r>
              <a:rPr lang="en-US" dirty="0"/>
              <a:t>Digital products and services for your business</a:t>
            </a:r>
            <a:br>
              <a:rPr lang="de-DE" dirty="0"/>
            </a:br>
            <a:endParaRPr lang="de-DE" dirty="0"/>
          </a:p>
        </p:txBody>
      </p:sp>
      <p:sp>
        <p:nvSpPr>
          <p:cNvPr id="15" name="Fußzeilenplatzhalter 1">
            <a:extLst>
              <a:ext uri="{FF2B5EF4-FFF2-40B4-BE49-F238E27FC236}">
                <a16:creationId xmlns:a16="http://schemas.microsoft.com/office/drawing/2014/main" id="{D9A95542-7ACE-1C7F-55D1-B7E9C2626257}"/>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20</a:t>
            </a:fld>
            <a:endParaRPr lang="de-DE"/>
          </a:p>
        </p:txBody>
      </p:sp>
      <p:grpSp>
        <p:nvGrpSpPr>
          <p:cNvPr id="16" name="Gruppieren 15">
            <a:extLst>
              <a:ext uri="{FF2B5EF4-FFF2-40B4-BE49-F238E27FC236}">
                <a16:creationId xmlns:a16="http://schemas.microsoft.com/office/drawing/2014/main" id="{2DFB05D7-38BE-CB4D-0194-81FA86F630F3}"/>
              </a:ext>
            </a:extLst>
          </p:cNvPr>
          <p:cNvGrpSpPr/>
          <p:nvPr/>
        </p:nvGrpSpPr>
        <p:grpSpPr>
          <a:xfrm>
            <a:off x="658813" y="2778098"/>
            <a:ext cx="1980000" cy="2722510"/>
            <a:chOff x="479425" y="2306391"/>
            <a:chExt cx="1980000" cy="2522637"/>
          </a:xfrm>
        </p:grpSpPr>
        <p:sp>
          <p:nvSpPr>
            <p:cNvPr id="7" name="Rectangle 6">
              <a:extLst>
                <a:ext uri="{FF2B5EF4-FFF2-40B4-BE49-F238E27FC236}">
                  <a16:creationId xmlns:a16="http://schemas.microsoft.com/office/drawing/2014/main" id="{5DB08D9C-B627-05A1-624B-A7758087992D}"/>
                </a:ext>
              </a:extLst>
            </p:cNvPr>
            <p:cNvSpPr/>
            <p:nvPr/>
          </p:nvSpPr>
          <p:spPr>
            <a:xfrm>
              <a:off x="479425" y="2306391"/>
              <a:ext cx="1980000" cy="2522637"/>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2" name="TextBox 1">
              <a:extLst>
                <a:ext uri="{FF2B5EF4-FFF2-40B4-BE49-F238E27FC236}">
                  <a16:creationId xmlns:a16="http://schemas.microsoft.com/office/drawing/2014/main" id="{16D96664-47E5-285A-5045-FBF33F1201F8}"/>
                </a:ext>
              </a:extLst>
            </p:cNvPr>
            <p:cNvSpPr txBox="1"/>
            <p:nvPr/>
          </p:nvSpPr>
          <p:spPr>
            <a:xfrm>
              <a:off x="606970" y="2404650"/>
              <a:ext cx="1814456" cy="2124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rPr>
                <a:t>digital</a:t>
              </a:r>
              <a:br>
                <a:rPr lang="de-DE" sz="1600">
                  <a:solidFill>
                    <a:schemeClr val="bg1"/>
                  </a:solidFill>
                </a:rPr>
              </a:br>
              <a:r>
                <a:rPr lang="de-DE" sz="1600">
                  <a:solidFill>
                    <a:schemeClr val="bg1"/>
                  </a:solidFill>
                </a:rPr>
                <a:t>Advisory</a:t>
              </a:r>
            </a:p>
            <a:p>
              <a:endParaRPr lang="de-DE">
                <a:solidFill>
                  <a:schemeClr val="bg1"/>
                </a:solidFill>
              </a:endParaRPr>
            </a:p>
            <a:p>
              <a:r>
                <a:rPr lang="en-US" sz="1100">
                  <a:solidFill>
                    <a:schemeClr val="bg1"/>
                  </a:solidFill>
                </a:rPr>
                <a:t>Enhanced customer relationships, streamlined </a:t>
              </a:r>
              <a:br>
                <a:rPr lang="en-US" sz="1100">
                  <a:solidFill>
                    <a:schemeClr val="bg1"/>
                  </a:solidFill>
                </a:rPr>
              </a:br>
              <a:r>
                <a:rPr lang="en-US" sz="1100">
                  <a:solidFill>
                    <a:schemeClr val="bg1"/>
                  </a:solidFill>
                </a:rPr>
                <a:t>and growth-focused sales strategies, and cutting-edge business models are achieved by leveraging extensive industry expertise and customer-centric transformation strategies. </a:t>
              </a:r>
            </a:p>
          </p:txBody>
        </p:sp>
      </p:grpSp>
      <p:grpSp>
        <p:nvGrpSpPr>
          <p:cNvPr id="17" name="Gruppieren 16">
            <a:extLst>
              <a:ext uri="{FF2B5EF4-FFF2-40B4-BE49-F238E27FC236}">
                <a16:creationId xmlns:a16="http://schemas.microsoft.com/office/drawing/2014/main" id="{991C2715-1F1E-D6F6-68F4-B3D2DE1963B6}"/>
              </a:ext>
            </a:extLst>
          </p:cNvPr>
          <p:cNvGrpSpPr/>
          <p:nvPr/>
        </p:nvGrpSpPr>
        <p:grpSpPr>
          <a:xfrm>
            <a:off x="2826960" y="2778099"/>
            <a:ext cx="1980000" cy="2722509"/>
            <a:chOff x="2815556" y="2306392"/>
            <a:chExt cx="1980000" cy="2522636"/>
          </a:xfrm>
        </p:grpSpPr>
        <p:sp>
          <p:nvSpPr>
            <p:cNvPr id="8" name="Rectangle 7">
              <a:extLst>
                <a:ext uri="{FF2B5EF4-FFF2-40B4-BE49-F238E27FC236}">
                  <a16:creationId xmlns:a16="http://schemas.microsoft.com/office/drawing/2014/main" id="{6ECD03D0-90BD-C698-85F4-FD2516AC4502}"/>
                </a:ext>
              </a:extLst>
            </p:cNvPr>
            <p:cNvSpPr/>
            <p:nvPr/>
          </p:nvSpPr>
          <p:spPr>
            <a:xfrm>
              <a:off x="2815556" y="2306392"/>
              <a:ext cx="1980000" cy="2522636"/>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3" name="TextBox 2">
              <a:extLst>
                <a:ext uri="{FF2B5EF4-FFF2-40B4-BE49-F238E27FC236}">
                  <a16:creationId xmlns:a16="http://schemas.microsoft.com/office/drawing/2014/main" id="{7B6C3DA5-E2B9-506D-6490-C8936DC9349E}"/>
                </a:ext>
              </a:extLst>
            </p:cNvPr>
            <p:cNvSpPr txBox="1"/>
            <p:nvPr/>
          </p:nvSpPr>
          <p:spPr>
            <a:xfrm>
              <a:off x="2935388" y="2404650"/>
              <a:ext cx="1790081" cy="198337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rPr>
                <a:t>digital</a:t>
              </a:r>
              <a:br>
                <a:rPr lang="de-DE" sz="1600"/>
              </a:br>
              <a:r>
                <a:rPr lang="de-DE" sz="1600">
                  <a:solidFill>
                    <a:schemeClr val="bg1"/>
                  </a:solidFill>
                </a:rPr>
                <a:t>Experience</a:t>
              </a:r>
            </a:p>
            <a:p>
              <a:endParaRPr lang="de-DE">
                <a:solidFill>
                  <a:schemeClr val="bg1"/>
                </a:solidFill>
              </a:endParaRPr>
            </a:p>
            <a:p>
              <a:r>
                <a:rPr lang="en-US" sz="1100">
                  <a:solidFill>
                    <a:schemeClr val="bg1"/>
                  </a:solidFill>
                </a:rPr>
                <a:t>Personalized customer experiences based on data insights to meet individual needs at every touchpoint throughout the customer journey, creating memorable experiences that leave a lasting impression.</a:t>
              </a:r>
              <a:endParaRPr lang="de-DE" sz="1100">
                <a:solidFill>
                  <a:schemeClr val="bg1"/>
                </a:solidFill>
              </a:endParaRPr>
            </a:p>
          </p:txBody>
        </p:sp>
      </p:grpSp>
      <p:grpSp>
        <p:nvGrpSpPr>
          <p:cNvPr id="18" name="Gruppieren 17">
            <a:extLst>
              <a:ext uri="{FF2B5EF4-FFF2-40B4-BE49-F238E27FC236}">
                <a16:creationId xmlns:a16="http://schemas.microsoft.com/office/drawing/2014/main" id="{276C3705-F762-A225-F83A-F4C0AE3E188F}"/>
              </a:ext>
            </a:extLst>
          </p:cNvPr>
          <p:cNvGrpSpPr/>
          <p:nvPr/>
        </p:nvGrpSpPr>
        <p:grpSpPr>
          <a:xfrm>
            <a:off x="4995107" y="2778099"/>
            <a:ext cx="1980000" cy="2722508"/>
            <a:chOff x="5151687" y="2306391"/>
            <a:chExt cx="1980000" cy="2522635"/>
          </a:xfrm>
        </p:grpSpPr>
        <p:sp>
          <p:nvSpPr>
            <p:cNvPr id="10" name="Rectangle 9">
              <a:extLst>
                <a:ext uri="{FF2B5EF4-FFF2-40B4-BE49-F238E27FC236}">
                  <a16:creationId xmlns:a16="http://schemas.microsoft.com/office/drawing/2014/main" id="{F5FB664C-0455-78EE-0D1B-F43B6D8E1D72}"/>
                </a:ext>
              </a:extLst>
            </p:cNvPr>
            <p:cNvSpPr/>
            <p:nvPr/>
          </p:nvSpPr>
          <p:spPr>
            <a:xfrm>
              <a:off x="5151687" y="2306391"/>
              <a:ext cx="1980000" cy="2522635"/>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4" name="TextBox 3">
              <a:extLst>
                <a:ext uri="{FF2B5EF4-FFF2-40B4-BE49-F238E27FC236}">
                  <a16:creationId xmlns:a16="http://schemas.microsoft.com/office/drawing/2014/main" id="{822DF22D-8168-ADB4-7678-421931552206}"/>
                </a:ext>
              </a:extLst>
            </p:cNvPr>
            <p:cNvSpPr txBox="1"/>
            <p:nvPr/>
          </p:nvSpPr>
          <p:spPr>
            <a:xfrm>
              <a:off x="5276533" y="2404650"/>
              <a:ext cx="1775625" cy="149720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rPr>
                <a:t>digital</a:t>
              </a:r>
              <a:br>
                <a:rPr lang="de-DE" sz="1600"/>
              </a:br>
              <a:r>
                <a:rPr lang="de-DE" sz="1600">
                  <a:solidFill>
                    <a:schemeClr val="bg1"/>
                  </a:solidFill>
                </a:rPr>
                <a:t>Services</a:t>
              </a:r>
            </a:p>
            <a:p>
              <a:endParaRPr lang="de-DE">
                <a:solidFill>
                  <a:schemeClr val="bg1"/>
                </a:solidFill>
              </a:endParaRPr>
            </a:p>
            <a:p>
              <a:r>
                <a:rPr lang="en-US" sz="1100">
                  <a:solidFill>
                    <a:schemeClr val="bg1"/>
                  </a:solidFill>
                </a:rPr>
                <a:t>Efficiency, growth and success in the digital world through industry-specific innovative solutions through to complete ecosystems.</a:t>
              </a:r>
            </a:p>
          </p:txBody>
        </p:sp>
      </p:grpSp>
      <p:grpSp>
        <p:nvGrpSpPr>
          <p:cNvPr id="19" name="Gruppieren 18">
            <a:extLst>
              <a:ext uri="{FF2B5EF4-FFF2-40B4-BE49-F238E27FC236}">
                <a16:creationId xmlns:a16="http://schemas.microsoft.com/office/drawing/2014/main" id="{B0AD79CB-90F5-2E7C-A5CF-310659C7BE9A}"/>
              </a:ext>
            </a:extLst>
          </p:cNvPr>
          <p:cNvGrpSpPr/>
          <p:nvPr/>
        </p:nvGrpSpPr>
        <p:grpSpPr>
          <a:xfrm>
            <a:off x="7163254" y="2778098"/>
            <a:ext cx="1980000" cy="2722507"/>
            <a:chOff x="7442131" y="2306391"/>
            <a:chExt cx="1980000" cy="2522634"/>
          </a:xfrm>
        </p:grpSpPr>
        <p:sp>
          <p:nvSpPr>
            <p:cNvPr id="12" name="Rectangle 11">
              <a:extLst>
                <a:ext uri="{FF2B5EF4-FFF2-40B4-BE49-F238E27FC236}">
                  <a16:creationId xmlns:a16="http://schemas.microsoft.com/office/drawing/2014/main" id="{CE604A98-F970-B399-06B3-BF42D97EC68D}"/>
                </a:ext>
              </a:extLst>
            </p:cNvPr>
            <p:cNvSpPr/>
            <p:nvPr/>
          </p:nvSpPr>
          <p:spPr>
            <a:xfrm>
              <a:off x="7442131" y="2306391"/>
              <a:ext cx="1980000" cy="2522634"/>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5" name="TextBox 4">
              <a:extLst>
                <a:ext uri="{FF2B5EF4-FFF2-40B4-BE49-F238E27FC236}">
                  <a16:creationId xmlns:a16="http://schemas.microsoft.com/office/drawing/2014/main" id="{9ED035DD-6F1F-42DE-DA5C-8D0A2D72D50B}"/>
                </a:ext>
              </a:extLst>
            </p:cNvPr>
            <p:cNvSpPr txBox="1"/>
            <p:nvPr/>
          </p:nvSpPr>
          <p:spPr>
            <a:xfrm>
              <a:off x="7595705" y="2404650"/>
              <a:ext cx="1767074" cy="165405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rPr>
                <a:t>digital</a:t>
              </a:r>
              <a:br>
                <a:rPr lang="de-DE" sz="1600"/>
              </a:br>
              <a:r>
                <a:rPr lang="de-DE" sz="1600">
                  <a:solidFill>
                    <a:schemeClr val="bg1"/>
                  </a:solidFill>
                </a:rPr>
                <a:t>Security</a:t>
              </a:r>
            </a:p>
            <a:p>
              <a:endParaRPr lang="de-DE">
                <a:solidFill>
                  <a:schemeClr val="bg1"/>
                </a:solidFill>
              </a:endParaRPr>
            </a:p>
            <a:p>
              <a:r>
                <a:rPr lang="en-US" sz="1100">
                  <a:solidFill>
                    <a:schemeClr val="bg1"/>
                  </a:solidFill>
                </a:rPr>
                <a:t>Safeguarding the core business by implementing preventive measures, proactive risk mitigation, investigative techniques, </a:t>
              </a:r>
              <a:br>
                <a:rPr lang="en-US" sz="1100">
                  <a:solidFill>
                    <a:schemeClr val="bg1"/>
                  </a:solidFill>
                </a:rPr>
              </a:br>
              <a:r>
                <a:rPr lang="en-US" sz="1100">
                  <a:solidFill>
                    <a:schemeClr val="bg1"/>
                  </a:solidFill>
                </a:rPr>
                <a:t>and recovery plans. </a:t>
              </a:r>
            </a:p>
          </p:txBody>
        </p:sp>
      </p:grpSp>
      <p:grpSp>
        <p:nvGrpSpPr>
          <p:cNvPr id="20" name="Gruppieren 19">
            <a:extLst>
              <a:ext uri="{FF2B5EF4-FFF2-40B4-BE49-F238E27FC236}">
                <a16:creationId xmlns:a16="http://schemas.microsoft.com/office/drawing/2014/main" id="{856B115A-C93C-1D01-8E49-95956BF8AE3B}"/>
              </a:ext>
            </a:extLst>
          </p:cNvPr>
          <p:cNvGrpSpPr/>
          <p:nvPr/>
        </p:nvGrpSpPr>
        <p:grpSpPr>
          <a:xfrm>
            <a:off x="9331403" y="2778098"/>
            <a:ext cx="1980000" cy="2722507"/>
            <a:chOff x="9732575" y="2306391"/>
            <a:chExt cx="1980000" cy="2522634"/>
          </a:xfrm>
        </p:grpSpPr>
        <p:sp>
          <p:nvSpPr>
            <p:cNvPr id="13" name="Rectangle 12">
              <a:extLst>
                <a:ext uri="{FF2B5EF4-FFF2-40B4-BE49-F238E27FC236}">
                  <a16:creationId xmlns:a16="http://schemas.microsoft.com/office/drawing/2014/main" id="{E8D519F0-DBD4-06FF-B911-8E1B41472E48}"/>
                </a:ext>
              </a:extLst>
            </p:cNvPr>
            <p:cNvSpPr/>
            <p:nvPr/>
          </p:nvSpPr>
          <p:spPr>
            <a:xfrm>
              <a:off x="9732575" y="2306391"/>
              <a:ext cx="1980000" cy="2522634"/>
            </a:xfrm>
            <a:prstGeom prst="rect">
              <a:avLst/>
            </a:prstGeom>
            <a:noFill/>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6" name="TextBox 5">
              <a:extLst>
                <a:ext uri="{FF2B5EF4-FFF2-40B4-BE49-F238E27FC236}">
                  <a16:creationId xmlns:a16="http://schemas.microsoft.com/office/drawing/2014/main" id="{AC29C023-2AA8-CAC6-FC96-2E9D1DC9075D}"/>
                </a:ext>
              </a:extLst>
            </p:cNvPr>
            <p:cNvSpPr txBox="1"/>
            <p:nvPr/>
          </p:nvSpPr>
          <p:spPr>
            <a:xfrm>
              <a:off x="9854723" y="2404650"/>
              <a:ext cx="1705894" cy="149720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rPr>
                <a:t>digital</a:t>
              </a:r>
              <a:br>
                <a:rPr lang="de-DE" sz="1600"/>
              </a:br>
              <a:r>
                <a:rPr lang="de-DE" sz="1600">
                  <a:solidFill>
                    <a:schemeClr val="bg1"/>
                  </a:solidFill>
                </a:rPr>
                <a:t>Operations</a:t>
              </a:r>
            </a:p>
            <a:p>
              <a:endParaRPr lang="de-DE">
                <a:solidFill>
                  <a:schemeClr val="bg1"/>
                </a:solidFill>
              </a:endParaRPr>
            </a:p>
            <a:p>
              <a:r>
                <a:rPr lang="en-US" sz="1100">
                  <a:solidFill>
                    <a:schemeClr val="bg1"/>
                  </a:solidFill>
                </a:rPr>
                <a:t>Ensuring the smooth and secure operation of cloud services in a regulated environment.</a:t>
              </a:r>
              <a:br>
                <a:rPr lang="en-US" sz="1100">
                  <a:solidFill>
                    <a:schemeClr val="bg1"/>
                  </a:solidFill>
                </a:rPr>
              </a:br>
              <a:endParaRPr lang="en-US" sz="1100">
                <a:solidFill>
                  <a:schemeClr val="bg1"/>
                </a:solidFill>
              </a:endParaRPr>
            </a:p>
          </p:txBody>
        </p:sp>
      </p:grpSp>
      <p:pic>
        <p:nvPicPr>
          <p:cNvPr id="23" name="Grafik 22">
            <a:extLst>
              <a:ext uri="{FF2B5EF4-FFF2-40B4-BE49-F238E27FC236}">
                <a16:creationId xmlns:a16="http://schemas.microsoft.com/office/drawing/2014/main" id="{755618CA-1828-D7C5-0BF2-9DAAD91F7ED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1224531" y="5721443"/>
            <a:ext cx="668905" cy="240806"/>
          </a:xfrm>
          <a:prstGeom prst="rect">
            <a:avLst/>
          </a:prstGeom>
        </p:spPr>
      </p:pic>
      <p:pic>
        <p:nvPicPr>
          <p:cNvPr id="24" name="Grafik 23">
            <a:extLst>
              <a:ext uri="{FF2B5EF4-FFF2-40B4-BE49-F238E27FC236}">
                <a16:creationId xmlns:a16="http://schemas.microsoft.com/office/drawing/2014/main" id="{2555DAAB-3708-FDCD-33F7-D5DED0D83AA8}"/>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bwMode="invGray">
          <a:xfrm>
            <a:off x="11026060" y="1966154"/>
            <a:ext cx="856899" cy="267562"/>
          </a:xfrm>
          <a:prstGeom prst="rect">
            <a:avLst/>
          </a:prstGeom>
        </p:spPr>
      </p:pic>
    </p:spTree>
    <p:extLst>
      <p:ext uri="{BB962C8B-B14F-4D97-AF65-F5344CB8AC3E}">
        <p14:creationId xmlns:p14="http://schemas.microsoft.com/office/powerpoint/2010/main" val="125803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D1AA6B28-F5C9-6647-42A1-36AEA20E8C79}"/>
              </a:ext>
            </a:extLst>
          </p:cNvPr>
          <p:cNvSpPr>
            <a:spLocks noGrp="1"/>
          </p:cNvSpPr>
          <p:nvPr>
            <p:ph type="body" sz="quarter" idx="12"/>
          </p:nvPr>
        </p:nvSpPr>
        <p:spPr>
          <a:xfrm>
            <a:off x="623888" y="296863"/>
            <a:ext cx="9488833" cy="169277"/>
          </a:xfrm>
        </p:spPr>
        <p:txBody>
          <a:bodyPr/>
          <a:lstStyle/>
          <a:p>
            <a:r>
              <a:rPr lang="en-US"/>
              <a:t>Intelligent solutions and IT consulting</a:t>
            </a:r>
          </a:p>
        </p:txBody>
      </p:sp>
      <p:sp>
        <p:nvSpPr>
          <p:cNvPr id="3" name="Titel 2">
            <a:extLst>
              <a:ext uri="{FF2B5EF4-FFF2-40B4-BE49-F238E27FC236}">
                <a16:creationId xmlns:a16="http://schemas.microsoft.com/office/drawing/2014/main" id="{41BD5E48-0F1E-97DA-7C7E-39653A461929}"/>
              </a:ext>
            </a:extLst>
          </p:cNvPr>
          <p:cNvSpPr>
            <a:spLocks noGrp="1"/>
          </p:cNvSpPr>
          <p:nvPr>
            <p:ph type="title"/>
          </p:nvPr>
        </p:nvSpPr>
        <p:spPr>
          <a:xfrm>
            <a:off x="623888" y="620713"/>
            <a:ext cx="9488833" cy="738664"/>
          </a:xfrm>
        </p:spPr>
        <p:txBody>
          <a:bodyPr/>
          <a:lstStyle/>
          <a:p>
            <a:r>
              <a:rPr lang="en-US" b="1" dirty="0"/>
              <a:t>Core competence Cloud</a:t>
            </a:r>
            <a:br>
              <a:rPr lang="en-US" dirty="0"/>
            </a:br>
            <a:r>
              <a:rPr lang="en-US" dirty="0"/>
              <a:t>Scaling and speed secure your future</a:t>
            </a:r>
          </a:p>
        </p:txBody>
      </p:sp>
      <p:sp>
        <p:nvSpPr>
          <p:cNvPr id="2" name="Fußzeilenplatzhalter 1">
            <a:extLst>
              <a:ext uri="{FF2B5EF4-FFF2-40B4-BE49-F238E27FC236}">
                <a16:creationId xmlns:a16="http://schemas.microsoft.com/office/drawing/2014/main" id="{B6163120-B0AD-0BBD-B1B8-5A84A3B3C7B0}"/>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21</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3887" y="1773238"/>
            <a:ext cx="5138957" cy="272476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a:ea typeface="Calibri"/>
                <a:cs typeface="Calibri"/>
              </a:rPr>
              <a:t>To achieve a successful cloud deployment, </a:t>
            </a:r>
            <a:br>
              <a:rPr lang="en-US">
                <a:ea typeface="Calibri"/>
                <a:cs typeface="Calibri"/>
              </a:rPr>
            </a:br>
            <a:r>
              <a:rPr lang="en-US">
                <a:ea typeface="Calibri"/>
                <a:cs typeface="Calibri"/>
              </a:rPr>
              <a:t>we strike a balance between industry standards </a:t>
            </a:r>
            <a:br>
              <a:rPr lang="en-US">
                <a:ea typeface="Calibri"/>
                <a:cs typeface="Calibri"/>
              </a:rPr>
            </a:br>
            <a:r>
              <a:rPr lang="en-US">
                <a:ea typeface="Calibri"/>
                <a:cs typeface="Calibri"/>
              </a:rPr>
              <a:t>and customized solutions that cater to the unique requirements of your business and industry.</a:t>
            </a:r>
          </a:p>
          <a:p>
            <a:endParaRPr lang="en-US">
              <a:ea typeface="Calibri"/>
              <a:cs typeface="Calibri"/>
            </a:endParaRPr>
          </a:p>
          <a:p>
            <a:r>
              <a:rPr lang="en-US">
                <a:ea typeface="Calibri"/>
                <a:cs typeface="Calibri"/>
              </a:rPr>
              <a:t>Wherever you may be in your journey – whether you are in the strategy phase, well into the transformation process, or in the midst of implementing managed services – we at msg are here to offer assistance precisely where it is needed.</a:t>
            </a:r>
          </a:p>
        </p:txBody>
      </p:sp>
      <p:sp>
        <p:nvSpPr>
          <p:cNvPr id="44" name="Inhaltsplatzhalter 9">
            <a:extLst>
              <a:ext uri="{FF2B5EF4-FFF2-40B4-BE49-F238E27FC236}">
                <a16:creationId xmlns:a16="http://schemas.microsoft.com/office/drawing/2014/main" id="{18AA4863-3E4C-071A-6CB1-BCC2CD2DD0EA}"/>
              </a:ext>
            </a:extLst>
          </p:cNvPr>
          <p:cNvSpPr txBox="1">
            <a:spLocks/>
          </p:cNvSpPr>
          <p:nvPr/>
        </p:nvSpPr>
        <p:spPr>
          <a:xfrm>
            <a:off x="623888" y="5118891"/>
            <a:ext cx="1740782" cy="276999"/>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600"/>
              </a:spcAft>
            </a:pPr>
            <a:r>
              <a:rPr lang="de-DE" err="1">
                <a:solidFill>
                  <a:srgbClr val="000000"/>
                </a:solidFill>
              </a:rPr>
              <a:t>Our</a:t>
            </a:r>
            <a:r>
              <a:rPr lang="de-DE">
                <a:solidFill>
                  <a:srgbClr val="000000"/>
                </a:solidFill>
              </a:rPr>
              <a:t> </a:t>
            </a:r>
            <a:r>
              <a:rPr lang="de-DE" err="1">
                <a:solidFill>
                  <a:srgbClr val="000000"/>
                </a:solidFill>
              </a:rPr>
              <a:t>partners</a:t>
            </a:r>
            <a:r>
              <a:rPr lang="de-DE">
                <a:solidFill>
                  <a:srgbClr val="000000"/>
                </a:solidFill>
              </a:rPr>
              <a:t>:</a:t>
            </a:r>
          </a:p>
        </p:txBody>
      </p:sp>
      <p:pic>
        <p:nvPicPr>
          <p:cNvPr id="15" name="Grafik 14">
            <a:extLst>
              <a:ext uri="{FF2B5EF4-FFF2-40B4-BE49-F238E27FC236}">
                <a16:creationId xmlns:a16="http://schemas.microsoft.com/office/drawing/2014/main" id="{9D6699BD-E0C2-CB52-2681-8005CE7F50C9}"/>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23888" y="5569184"/>
            <a:ext cx="1239169" cy="262270"/>
          </a:xfrm>
          <a:prstGeom prst="rect">
            <a:avLst/>
          </a:prstGeom>
        </p:spPr>
      </p:pic>
      <p:pic>
        <p:nvPicPr>
          <p:cNvPr id="16" name="Picture 13">
            <a:extLst>
              <a:ext uri="{FF2B5EF4-FFF2-40B4-BE49-F238E27FC236}">
                <a16:creationId xmlns:a16="http://schemas.microsoft.com/office/drawing/2014/main" id="{39946255-409B-712A-A374-6FDA69CBDE08}"/>
              </a:ext>
            </a:extLst>
          </p:cNvPr>
          <p:cNvPicPr>
            <a:picLocks noChangeAspect="1" noChangeArrowheads="1"/>
          </p:cNvPicPr>
          <p:nvPr/>
        </p:nvPicPr>
        <p:blipFill>
          <a:blip r:embed="rId6"/>
          <a:srcRect/>
          <a:stretch/>
        </p:blipFill>
        <p:spPr bwMode="auto">
          <a:xfrm>
            <a:off x="3580042" y="5570105"/>
            <a:ext cx="1679336" cy="260428"/>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Gerade Verbindung 41">
            <a:extLst>
              <a:ext uri="{FF2B5EF4-FFF2-40B4-BE49-F238E27FC236}">
                <a16:creationId xmlns:a16="http://schemas.microsoft.com/office/drawing/2014/main" id="{15358723-5108-657D-2BF3-3E1676113B7C}"/>
              </a:ext>
            </a:extLst>
          </p:cNvPr>
          <p:cNvCxnSpPr>
            <a:cxnSpLocks/>
          </p:cNvCxnSpPr>
          <p:nvPr/>
        </p:nvCxnSpPr>
        <p:spPr>
          <a:xfrm>
            <a:off x="2160914" y="5549009"/>
            <a:ext cx="0" cy="30262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18" name="Gerade Verbindung 42">
            <a:extLst>
              <a:ext uri="{FF2B5EF4-FFF2-40B4-BE49-F238E27FC236}">
                <a16:creationId xmlns:a16="http://schemas.microsoft.com/office/drawing/2014/main" id="{91F8A101-317B-FE6D-51BF-7C29DE06B283}"/>
              </a:ext>
            </a:extLst>
          </p:cNvPr>
          <p:cNvCxnSpPr>
            <a:cxnSpLocks/>
          </p:cNvCxnSpPr>
          <p:nvPr/>
        </p:nvCxnSpPr>
        <p:spPr>
          <a:xfrm>
            <a:off x="3282186" y="5549009"/>
            <a:ext cx="0" cy="30262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61A425BA-97D0-86EB-0AB9-B1134E614B6D}"/>
              </a:ext>
            </a:extLst>
          </p:cNvPr>
          <p:cNvPicPr>
            <a:picLocks noChangeAspect="1"/>
          </p:cNvPicPr>
          <p:nvPr/>
        </p:nvPicPr>
        <p:blipFill>
          <a:blip r:embed="rId7"/>
          <a:srcRect l="12662" t="11087" r="8610" b="13136"/>
          <a:stretch/>
        </p:blipFill>
        <p:spPr>
          <a:xfrm>
            <a:off x="6243642" y="1456800"/>
            <a:ext cx="5872158" cy="4636025"/>
          </a:xfrm>
          <a:prstGeom prst="rect">
            <a:avLst/>
          </a:prstGeom>
        </p:spPr>
      </p:pic>
      <p:pic>
        <p:nvPicPr>
          <p:cNvPr id="7" name="Grafik 6">
            <a:extLst>
              <a:ext uri="{FF2B5EF4-FFF2-40B4-BE49-F238E27FC236}">
                <a16:creationId xmlns:a16="http://schemas.microsoft.com/office/drawing/2014/main" id="{D9B5D966-5CBB-CA78-BC30-0E020DAB182C}"/>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458771" y="5543851"/>
            <a:ext cx="522576" cy="313546"/>
          </a:xfrm>
          <a:prstGeom prst="rect">
            <a:avLst/>
          </a:prstGeom>
        </p:spPr>
      </p:pic>
    </p:spTree>
    <p:extLst>
      <p:ext uri="{BB962C8B-B14F-4D97-AF65-F5344CB8AC3E}">
        <p14:creationId xmlns:p14="http://schemas.microsoft.com/office/powerpoint/2010/main" val="886493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platzhalter 27">
            <a:extLst>
              <a:ext uri="{FF2B5EF4-FFF2-40B4-BE49-F238E27FC236}">
                <a16:creationId xmlns:a16="http://schemas.microsoft.com/office/drawing/2014/main" id="{68A3414C-CEFE-452E-3837-DDF3306A9B0F}"/>
              </a:ext>
            </a:extLst>
          </p:cNvPr>
          <p:cNvSpPr>
            <a:spLocks noGrp="1"/>
          </p:cNvSpPr>
          <p:nvPr>
            <p:ph type="body" sz="quarter" idx="12"/>
          </p:nvPr>
        </p:nvSpPr>
        <p:spPr>
          <a:xfrm>
            <a:off x="623888" y="296863"/>
            <a:ext cx="9488833" cy="169277"/>
          </a:xfrm>
        </p:spPr>
        <p:txBody>
          <a:bodyPr/>
          <a:lstStyle/>
          <a:p>
            <a:r>
              <a:rPr lang="en-US"/>
              <a:t>Intelligent solutions and IT consulting</a:t>
            </a:r>
          </a:p>
        </p:txBody>
      </p:sp>
      <p:sp>
        <p:nvSpPr>
          <p:cNvPr id="22" name="Titel 21">
            <a:extLst>
              <a:ext uri="{FF2B5EF4-FFF2-40B4-BE49-F238E27FC236}">
                <a16:creationId xmlns:a16="http://schemas.microsoft.com/office/drawing/2014/main" id="{59A0DFEE-668D-324B-BD4D-8E6CF1A953DC}"/>
              </a:ext>
            </a:extLst>
          </p:cNvPr>
          <p:cNvSpPr>
            <a:spLocks noGrp="1"/>
          </p:cNvSpPr>
          <p:nvPr>
            <p:ph type="title"/>
          </p:nvPr>
        </p:nvSpPr>
        <p:spPr>
          <a:xfrm>
            <a:off x="623888" y="620713"/>
            <a:ext cx="11266960" cy="738664"/>
          </a:xfrm>
        </p:spPr>
        <p:txBody>
          <a:bodyPr/>
          <a:lstStyle/>
          <a:p>
            <a:r>
              <a:rPr lang="en-US" b="1" dirty="0"/>
              <a:t>Core competence SAP</a:t>
            </a:r>
            <a:br>
              <a:rPr lang="en-US" dirty="0"/>
            </a:br>
            <a:r>
              <a:rPr lang="en-US" dirty="0"/>
              <a:t>As an SAP partner, we have been shaping the digital transformation for over 25 years</a:t>
            </a:r>
          </a:p>
        </p:txBody>
      </p:sp>
      <p:sp>
        <p:nvSpPr>
          <p:cNvPr id="17" name="Fußzeilenplatzhalter 1">
            <a:extLst>
              <a:ext uri="{FF2B5EF4-FFF2-40B4-BE49-F238E27FC236}">
                <a16:creationId xmlns:a16="http://schemas.microsoft.com/office/drawing/2014/main" id="{163C44DC-3540-C242-144A-C38CC17BEC45}"/>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22</a:t>
            </a:fld>
            <a:endParaRPr lang="de-DE"/>
          </a:p>
        </p:txBody>
      </p:sp>
      <p:sp>
        <p:nvSpPr>
          <p:cNvPr id="3" name="AutoShape 25">
            <a:extLst>
              <a:ext uri="{FF2B5EF4-FFF2-40B4-BE49-F238E27FC236}">
                <a16:creationId xmlns:a16="http://schemas.microsoft.com/office/drawing/2014/main" id="{6A3637A5-2ED5-18F8-D717-5E6E03EE0A93}"/>
              </a:ext>
            </a:extLst>
          </p:cNvPr>
          <p:cNvSpPr>
            <a:spLocks noChangeArrowheads="1"/>
          </p:cNvSpPr>
          <p:nvPr/>
        </p:nvSpPr>
        <p:spPr bwMode="auto">
          <a:xfrm>
            <a:off x="6167100" y="2466497"/>
            <a:ext cx="2844014" cy="1089618"/>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a:solidFill>
                  <a:srgbClr val="000000"/>
                </a:solidFill>
              </a:rPr>
              <a:t>Consulting, implementation </a:t>
            </a:r>
          </a:p>
          <a:p>
            <a:pPr algn="ctr">
              <a:tabLst>
                <a:tab pos="3714462" algn="l"/>
              </a:tabLst>
            </a:pPr>
            <a:r>
              <a:rPr lang="en-US" sz="1400" kern="0">
                <a:solidFill>
                  <a:srgbClr val="000000"/>
                </a:solidFill>
              </a:rPr>
              <a:t>and integration of </a:t>
            </a:r>
          </a:p>
          <a:p>
            <a:pPr algn="ctr">
              <a:tabLst>
                <a:tab pos="3714462" algn="l"/>
              </a:tabLst>
            </a:pPr>
            <a:r>
              <a:rPr lang="en-US" sz="1400" kern="0">
                <a:solidFill>
                  <a:srgbClr val="000000"/>
                </a:solidFill>
              </a:rPr>
              <a:t>SAP products and solutions</a:t>
            </a:r>
            <a:endParaRPr lang="en-US" sz="1400" kern="0">
              <a:solidFill>
                <a:srgbClr val="000000"/>
              </a:solidFill>
              <a:ea typeface="Calibri"/>
              <a:cs typeface="Calibri"/>
            </a:endParaRPr>
          </a:p>
        </p:txBody>
      </p:sp>
      <p:sp>
        <p:nvSpPr>
          <p:cNvPr id="4" name="AutoShape 25">
            <a:extLst>
              <a:ext uri="{FF2B5EF4-FFF2-40B4-BE49-F238E27FC236}">
                <a16:creationId xmlns:a16="http://schemas.microsoft.com/office/drawing/2014/main" id="{E28A3E46-117A-0C7A-E587-81E435C7AF7D}"/>
              </a:ext>
            </a:extLst>
          </p:cNvPr>
          <p:cNvSpPr>
            <a:spLocks noChangeArrowheads="1"/>
          </p:cNvSpPr>
          <p:nvPr/>
        </p:nvSpPr>
        <p:spPr bwMode="auto">
          <a:xfrm>
            <a:off x="6505797" y="2003068"/>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defTabSz="914330">
              <a:lnSpc>
                <a:spcPts val="1200"/>
              </a:lnSpc>
              <a:buClr>
                <a:srgbClr val="841439"/>
              </a:buClr>
              <a:buSzPct val="120000"/>
              <a:tabLst>
                <a:tab pos="3714462" algn="l"/>
              </a:tabLst>
              <a:defRPr/>
            </a:pPr>
            <a:r>
              <a:rPr lang="en-US" kern="0">
                <a:solidFill>
                  <a:schemeClr val="bg1"/>
                </a:solidFill>
              </a:rPr>
              <a:t>Service</a:t>
            </a:r>
          </a:p>
        </p:txBody>
      </p:sp>
      <p:sp>
        <p:nvSpPr>
          <p:cNvPr id="5" name="AutoShape 25">
            <a:extLst>
              <a:ext uri="{FF2B5EF4-FFF2-40B4-BE49-F238E27FC236}">
                <a16:creationId xmlns:a16="http://schemas.microsoft.com/office/drawing/2014/main" id="{82A66403-FD52-6C63-1111-861BBD6F8FE8}"/>
              </a:ext>
            </a:extLst>
          </p:cNvPr>
          <p:cNvSpPr>
            <a:spLocks noChangeArrowheads="1"/>
          </p:cNvSpPr>
          <p:nvPr/>
        </p:nvSpPr>
        <p:spPr bwMode="auto">
          <a:xfrm>
            <a:off x="9042154" y="2466497"/>
            <a:ext cx="2684086" cy="1089618"/>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a:solidFill>
                  <a:srgbClr val="000000"/>
                </a:solidFill>
                <a:ea typeface="Calibri"/>
                <a:cs typeface="Calibri"/>
              </a:rPr>
              <a:t>Maintenance and sale of SAP software licenses, on-premise and cloud products</a:t>
            </a:r>
          </a:p>
          <a:p>
            <a:pPr algn="ctr">
              <a:spcBef>
                <a:spcPts val="1200"/>
              </a:spcBef>
              <a:spcAft>
                <a:spcPts val="1200"/>
              </a:spcAft>
              <a:tabLst>
                <a:tab pos="3714462" algn="l"/>
              </a:tabLst>
            </a:pPr>
            <a:endParaRPr lang="en-US" sz="1400" kern="0">
              <a:solidFill>
                <a:srgbClr val="000000"/>
              </a:solidFill>
              <a:ea typeface="Calibri"/>
              <a:cs typeface="Calibri"/>
            </a:endParaRPr>
          </a:p>
        </p:txBody>
      </p:sp>
      <p:sp>
        <p:nvSpPr>
          <p:cNvPr id="6" name="AutoShape 25">
            <a:extLst>
              <a:ext uri="{FF2B5EF4-FFF2-40B4-BE49-F238E27FC236}">
                <a16:creationId xmlns:a16="http://schemas.microsoft.com/office/drawing/2014/main" id="{BD5953F8-D559-9812-E4F1-CB2487C4DE3C}"/>
              </a:ext>
            </a:extLst>
          </p:cNvPr>
          <p:cNvSpPr>
            <a:spLocks noChangeArrowheads="1"/>
          </p:cNvSpPr>
          <p:nvPr/>
        </p:nvSpPr>
        <p:spPr bwMode="auto">
          <a:xfrm>
            <a:off x="9250519" y="2003068"/>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Sell</a:t>
            </a:r>
          </a:p>
        </p:txBody>
      </p:sp>
      <p:sp>
        <p:nvSpPr>
          <p:cNvPr id="7" name="AutoShape 25">
            <a:extLst>
              <a:ext uri="{FF2B5EF4-FFF2-40B4-BE49-F238E27FC236}">
                <a16:creationId xmlns:a16="http://schemas.microsoft.com/office/drawing/2014/main" id="{CCCBB2D4-776C-94A8-1E64-A27E7554F75A}"/>
              </a:ext>
            </a:extLst>
          </p:cNvPr>
          <p:cNvSpPr>
            <a:spLocks noChangeArrowheads="1"/>
          </p:cNvSpPr>
          <p:nvPr/>
        </p:nvSpPr>
        <p:spPr bwMode="auto">
          <a:xfrm>
            <a:off x="558910" y="2437095"/>
            <a:ext cx="2788892" cy="842773"/>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a:solidFill>
                  <a:srgbClr val="000000"/>
                </a:solidFill>
                <a:ea typeface="Calibri"/>
                <a:cs typeface="Calibri"/>
              </a:rPr>
              <a:t>Development of application software for SAP and customer-specific software solutions</a:t>
            </a:r>
          </a:p>
        </p:txBody>
      </p:sp>
      <p:sp>
        <p:nvSpPr>
          <p:cNvPr id="8" name="AutoShape 25">
            <a:extLst>
              <a:ext uri="{FF2B5EF4-FFF2-40B4-BE49-F238E27FC236}">
                <a16:creationId xmlns:a16="http://schemas.microsoft.com/office/drawing/2014/main" id="{88C5AA12-AA63-8B91-4CD8-2F1EC2A979F0}"/>
              </a:ext>
            </a:extLst>
          </p:cNvPr>
          <p:cNvSpPr>
            <a:spLocks noChangeArrowheads="1"/>
          </p:cNvSpPr>
          <p:nvPr/>
        </p:nvSpPr>
        <p:spPr bwMode="auto">
          <a:xfrm>
            <a:off x="804874" y="2003068"/>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Build</a:t>
            </a:r>
          </a:p>
        </p:txBody>
      </p:sp>
      <p:sp>
        <p:nvSpPr>
          <p:cNvPr id="10" name="AutoShape 25">
            <a:extLst>
              <a:ext uri="{FF2B5EF4-FFF2-40B4-BE49-F238E27FC236}">
                <a16:creationId xmlns:a16="http://schemas.microsoft.com/office/drawing/2014/main" id="{0B29D337-93B1-533F-1D57-1A1B08256B87}"/>
              </a:ext>
            </a:extLst>
          </p:cNvPr>
          <p:cNvSpPr>
            <a:spLocks noChangeArrowheads="1"/>
          </p:cNvSpPr>
          <p:nvPr/>
        </p:nvSpPr>
        <p:spPr bwMode="auto">
          <a:xfrm>
            <a:off x="3804773" y="2003068"/>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pPr>
            <a:r>
              <a:rPr lang="en-US" kern="0">
                <a:solidFill>
                  <a:schemeClr val="bg1"/>
                </a:solidFill>
              </a:rPr>
              <a:t>Run</a:t>
            </a:r>
          </a:p>
        </p:txBody>
      </p:sp>
      <p:sp>
        <p:nvSpPr>
          <p:cNvPr id="16" name="AutoShape 25">
            <a:extLst>
              <a:ext uri="{FF2B5EF4-FFF2-40B4-BE49-F238E27FC236}">
                <a16:creationId xmlns:a16="http://schemas.microsoft.com/office/drawing/2014/main" id="{BCCB9BE6-50B0-7011-B5A0-4756EA3484C1}"/>
              </a:ext>
            </a:extLst>
          </p:cNvPr>
          <p:cNvSpPr>
            <a:spLocks noChangeArrowheads="1"/>
          </p:cNvSpPr>
          <p:nvPr/>
        </p:nvSpPr>
        <p:spPr bwMode="auto">
          <a:xfrm>
            <a:off x="3450271" y="2456851"/>
            <a:ext cx="2614360" cy="1089618"/>
          </a:xfrm>
          <a:prstGeom prst="rect">
            <a:avLst/>
          </a:prstGeom>
          <a:noFill/>
          <a:ln w="9525" cap="flat" cmpd="sng" algn="ctr">
            <a:noFill/>
            <a:prstDash val="solid"/>
            <a:headEnd/>
            <a:tailEnd/>
          </a:ln>
          <a:effectLst/>
        </p:spPr>
        <p:txBody>
          <a:bodyPr wrap="square" lIns="71999" tIns="72000" rIns="71999"/>
          <a:lstStyle/>
          <a:p>
            <a:pPr algn="ctr">
              <a:spcBef>
                <a:spcPts val="1200"/>
              </a:spcBef>
              <a:spcAft>
                <a:spcPts val="1200"/>
              </a:spcAft>
              <a:buClr>
                <a:srgbClr val="841439"/>
              </a:buClr>
              <a:buSzPct val="120000"/>
              <a:tabLst>
                <a:tab pos="3714462" algn="l"/>
              </a:tabLst>
            </a:pPr>
            <a:r>
              <a:rPr lang="en-US" sz="1400" kern="0">
                <a:solidFill>
                  <a:srgbClr val="000000"/>
                </a:solidFill>
              </a:rPr>
              <a:t>Operation, application management and maintenance of SAP applications </a:t>
            </a:r>
            <a:br>
              <a:rPr lang="en-US" sz="1400" kern="0">
                <a:solidFill>
                  <a:srgbClr val="000000"/>
                </a:solidFill>
              </a:rPr>
            </a:br>
            <a:endParaRPr lang="en-US" sz="1400" kern="0">
              <a:solidFill>
                <a:srgbClr val="000000"/>
              </a:solidFill>
            </a:endParaRPr>
          </a:p>
        </p:txBody>
      </p:sp>
      <p:sp>
        <p:nvSpPr>
          <p:cNvPr id="27" name="Rechteck 26">
            <a:extLst>
              <a:ext uri="{FF2B5EF4-FFF2-40B4-BE49-F238E27FC236}">
                <a16:creationId xmlns:a16="http://schemas.microsoft.com/office/drawing/2014/main" id="{9E6CF0E5-D448-8142-E4CF-6F28E1BB789F}"/>
              </a:ext>
            </a:extLst>
          </p:cNvPr>
          <p:cNvSpPr/>
          <p:nvPr/>
        </p:nvSpPr>
        <p:spPr>
          <a:xfrm>
            <a:off x="177013" y="3444161"/>
            <a:ext cx="2221524" cy="524272"/>
          </a:xfrm>
          <a:prstGeom prst="rect">
            <a:avLst/>
          </a:prstGeom>
          <a:noFill/>
          <a:ln w="9525" cap="flat" cmpd="sng" algn="ctr">
            <a:noFill/>
            <a:prstDash val="solid"/>
            <a:headEnd/>
            <a:tailEnd/>
          </a:ln>
          <a:effectLst/>
        </p:spPr>
        <p:txBody>
          <a:bodyPr wrap="none" lIns="0" tIns="0" rIns="0" bIns="0" anchor="ctr" anchorCtr="1"/>
          <a:lstStyle/>
          <a:p>
            <a:pPr marL="9525" indent="-9525">
              <a:lnSpc>
                <a:spcPts val="1200"/>
              </a:lnSpc>
              <a:buClr>
                <a:srgbClr val="841439"/>
              </a:buClr>
              <a:buSzPct val="120000"/>
              <a:tabLst>
                <a:tab pos="3713163" algn="l"/>
              </a:tabLst>
            </a:pPr>
            <a:r>
              <a:rPr lang="en-US" sz="1550" kern="0"/>
              <a:t>Current awards</a:t>
            </a:r>
          </a:p>
        </p:txBody>
      </p:sp>
      <p:cxnSp>
        <p:nvCxnSpPr>
          <p:cNvPr id="21" name="Gerader Verbinder 42">
            <a:extLst>
              <a:ext uri="{FF2B5EF4-FFF2-40B4-BE49-F238E27FC236}">
                <a16:creationId xmlns:a16="http://schemas.microsoft.com/office/drawing/2014/main" id="{FFB6FE10-D953-FAD4-E6DC-D671F2E7696B}"/>
              </a:ext>
            </a:extLst>
          </p:cNvPr>
          <p:cNvCxnSpPr>
            <a:cxnSpLocks/>
          </p:cNvCxnSpPr>
          <p:nvPr/>
        </p:nvCxnSpPr>
        <p:spPr>
          <a:xfrm>
            <a:off x="607210" y="3382753"/>
            <a:ext cx="11221499"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58" name="Textplatzhalter 14">
            <a:extLst>
              <a:ext uri="{FF2B5EF4-FFF2-40B4-BE49-F238E27FC236}">
                <a16:creationId xmlns:a16="http://schemas.microsoft.com/office/drawing/2014/main" id="{23E209BA-5B51-851E-E5F0-714A0DAD0E2F}"/>
              </a:ext>
            </a:extLst>
          </p:cNvPr>
          <p:cNvSpPr txBox="1">
            <a:spLocks/>
          </p:cNvSpPr>
          <p:nvPr/>
        </p:nvSpPr>
        <p:spPr>
          <a:xfrm>
            <a:off x="353302" y="5431838"/>
            <a:ext cx="1495541" cy="514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Solution Extension</a:t>
            </a:r>
          </a:p>
          <a:p>
            <a:pPr algn="ctr">
              <a:lnSpc>
                <a:spcPts val="1200"/>
              </a:lnSpc>
            </a:pPr>
            <a:r>
              <a:rPr lang="de-DE" sz="1000">
                <a:cs typeface="Calibri"/>
              </a:rPr>
              <a:t>Partner </a:t>
            </a:r>
            <a:r>
              <a:rPr lang="de-DE" sz="1000" err="1">
                <a:cs typeface="Calibri"/>
              </a:rPr>
              <a:t>of</a:t>
            </a:r>
            <a:r>
              <a:rPr lang="de-DE" sz="1000">
                <a:cs typeface="Calibri"/>
              </a:rPr>
              <a:t> </a:t>
            </a:r>
            <a:r>
              <a:rPr lang="de-DE" sz="1000" err="1">
                <a:cs typeface="Calibri"/>
              </a:rPr>
              <a:t>the</a:t>
            </a:r>
            <a:r>
              <a:rPr lang="de-DE" sz="1000">
                <a:cs typeface="Calibri"/>
              </a:rPr>
              <a:t> Year</a:t>
            </a:r>
          </a:p>
          <a:p>
            <a:pPr algn="ctr">
              <a:lnSpc>
                <a:spcPct val="150000"/>
              </a:lnSpc>
            </a:pPr>
            <a:r>
              <a:rPr lang="de-DE" sz="1000">
                <a:cs typeface="Calibri"/>
              </a:rPr>
              <a:t>Digital Core</a:t>
            </a:r>
          </a:p>
        </p:txBody>
      </p:sp>
      <p:sp>
        <p:nvSpPr>
          <p:cNvPr id="60" name="Textplatzhalter 14">
            <a:extLst>
              <a:ext uri="{FF2B5EF4-FFF2-40B4-BE49-F238E27FC236}">
                <a16:creationId xmlns:a16="http://schemas.microsoft.com/office/drawing/2014/main" id="{D1EFCA02-B04B-64F7-5616-DED4142683D0}"/>
              </a:ext>
            </a:extLst>
          </p:cNvPr>
          <p:cNvSpPr txBox="1">
            <a:spLocks/>
          </p:cNvSpPr>
          <p:nvPr/>
        </p:nvSpPr>
        <p:spPr>
          <a:xfrm>
            <a:off x="1647649" y="5431838"/>
            <a:ext cx="1495541" cy="69249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Intelligent Enterprise</a:t>
            </a:r>
          </a:p>
          <a:p>
            <a:pPr algn="ctr">
              <a:lnSpc>
                <a:spcPts val="1200"/>
              </a:lnSpc>
            </a:pPr>
            <a:r>
              <a:rPr lang="de-DE" sz="1000">
                <a:cs typeface="Calibri"/>
              </a:rPr>
              <a:t>Innovation</a:t>
            </a:r>
          </a:p>
          <a:p>
            <a:pPr algn="ctr">
              <a:lnSpc>
                <a:spcPct val="150000"/>
              </a:lnSpc>
            </a:pPr>
            <a:r>
              <a:rPr lang="de-DE" sz="1000">
                <a:cs typeface="Calibri"/>
              </a:rPr>
              <a:t>Partner </a:t>
            </a:r>
            <a:r>
              <a:rPr lang="de-DE" sz="1000" err="1">
                <a:cs typeface="Calibri"/>
              </a:rPr>
              <a:t>Application</a:t>
            </a:r>
            <a:endParaRPr lang="de-DE" sz="1000">
              <a:cs typeface="Calibri"/>
            </a:endParaRPr>
          </a:p>
          <a:p>
            <a:pPr algn="ctr">
              <a:lnSpc>
                <a:spcPct val="100000"/>
              </a:lnSpc>
            </a:pPr>
            <a:r>
              <a:rPr lang="de-DE" sz="1000">
                <a:cs typeface="Calibri"/>
              </a:rPr>
              <a:t>Industry Cloud</a:t>
            </a:r>
          </a:p>
        </p:txBody>
      </p:sp>
      <p:pic>
        <p:nvPicPr>
          <p:cNvPr id="2" name="Picture 1">
            <a:extLst>
              <a:ext uri="{FF2B5EF4-FFF2-40B4-BE49-F238E27FC236}">
                <a16:creationId xmlns:a16="http://schemas.microsoft.com/office/drawing/2014/main" id="{44483D4A-7044-65F2-478E-97220B4F396B}"/>
              </a:ext>
            </a:extLst>
          </p:cNvPr>
          <p:cNvPicPr>
            <a:picLocks noChangeAspect="1"/>
          </p:cNvPicPr>
          <p:nvPr/>
        </p:nvPicPr>
        <p:blipFill>
          <a:blip r:embed="rId6"/>
          <a:stretch>
            <a:fillRect/>
          </a:stretch>
        </p:blipFill>
        <p:spPr>
          <a:xfrm>
            <a:off x="9209809" y="3955499"/>
            <a:ext cx="2629690" cy="736807"/>
          </a:xfrm>
          <a:prstGeom prst="rect">
            <a:avLst/>
          </a:prstGeom>
        </p:spPr>
      </p:pic>
      <p:pic>
        <p:nvPicPr>
          <p:cNvPr id="18" name="Grafik 17" descr="Ein Bild, das Text, Screenshot, Schrift, Grafiken enthält.&#10;&#10;Beschreibung automatisch generiert.">
            <a:extLst>
              <a:ext uri="{FF2B5EF4-FFF2-40B4-BE49-F238E27FC236}">
                <a16:creationId xmlns:a16="http://schemas.microsoft.com/office/drawing/2014/main" id="{B1146560-78C0-5C05-35DF-4254C8840917}"/>
              </a:ext>
            </a:extLst>
          </p:cNvPr>
          <p:cNvPicPr>
            <a:picLocks noChangeAspect="1"/>
          </p:cNvPicPr>
          <p:nvPr/>
        </p:nvPicPr>
        <p:blipFill>
          <a:blip r:embed="rId7"/>
          <a:stretch>
            <a:fillRect/>
          </a:stretch>
        </p:blipFill>
        <p:spPr>
          <a:xfrm>
            <a:off x="9213663" y="4757730"/>
            <a:ext cx="2635668" cy="731331"/>
          </a:xfrm>
          <a:prstGeom prst="rect">
            <a:avLst/>
          </a:prstGeom>
        </p:spPr>
      </p:pic>
      <p:pic>
        <p:nvPicPr>
          <p:cNvPr id="15" name="Grafik 14">
            <a:extLst>
              <a:ext uri="{FF2B5EF4-FFF2-40B4-BE49-F238E27FC236}">
                <a16:creationId xmlns:a16="http://schemas.microsoft.com/office/drawing/2014/main" id="{012A0C42-9A63-9994-1852-10046CA90E67}"/>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204338" y="5554485"/>
            <a:ext cx="2640631" cy="756602"/>
          </a:xfrm>
          <a:prstGeom prst="rect">
            <a:avLst/>
          </a:prstGeom>
        </p:spPr>
      </p:pic>
      <p:sp>
        <p:nvSpPr>
          <p:cNvPr id="19" name="Textplatzhalter 14">
            <a:extLst>
              <a:ext uri="{FF2B5EF4-FFF2-40B4-BE49-F238E27FC236}">
                <a16:creationId xmlns:a16="http://schemas.microsoft.com/office/drawing/2014/main" id="{90549B94-B41B-8CC9-A6F7-5B0DACF96DC0}"/>
              </a:ext>
            </a:extLst>
          </p:cNvPr>
          <p:cNvSpPr txBox="1">
            <a:spLocks/>
          </p:cNvSpPr>
          <p:nvPr/>
        </p:nvSpPr>
        <p:spPr>
          <a:xfrm>
            <a:off x="3371982" y="5431838"/>
            <a:ext cx="738756" cy="30777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AI Partner Innovation</a:t>
            </a:r>
            <a:endParaRPr lang="en-US"/>
          </a:p>
        </p:txBody>
      </p:sp>
      <p:sp>
        <p:nvSpPr>
          <p:cNvPr id="12" name="Pfeil: Fünfeck 11">
            <a:extLst>
              <a:ext uri="{FF2B5EF4-FFF2-40B4-BE49-F238E27FC236}">
                <a16:creationId xmlns:a16="http://schemas.microsoft.com/office/drawing/2014/main" id="{9B0E0DE8-22DD-3E1C-92CF-65D7DB8C2FBB}"/>
              </a:ext>
            </a:extLst>
          </p:cNvPr>
          <p:cNvSpPr/>
          <p:nvPr/>
        </p:nvSpPr>
        <p:spPr>
          <a:xfrm>
            <a:off x="649816" y="1753217"/>
            <a:ext cx="2875936" cy="664465"/>
          </a:xfrm>
          <a:prstGeom prst="homePlate">
            <a:avLst>
              <a:gd name="adj" fmla="val 34838"/>
            </a:avLst>
          </a:prstGeom>
          <a:blipFill>
            <a:blip r:embed="rId9"/>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5" name="Pfeil: Chevron 24">
            <a:extLst>
              <a:ext uri="{FF2B5EF4-FFF2-40B4-BE49-F238E27FC236}">
                <a16:creationId xmlns:a16="http://schemas.microsoft.com/office/drawing/2014/main" id="{B8C6B9A2-D88F-2EDE-1FB0-3EE6F4781BBE}"/>
              </a:ext>
            </a:extLst>
          </p:cNvPr>
          <p:cNvSpPr/>
          <p:nvPr/>
        </p:nvSpPr>
        <p:spPr>
          <a:xfrm>
            <a:off x="3400316" y="1753217"/>
            <a:ext cx="2913801" cy="664465"/>
          </a:xfrm>
          <a:prstGeom prst="chevron">
            <a:avLst>
              <a:gd name="adj" fmla="val 38370"/>
            </a:avLst>
          </a:prstGeom>
          <a:blipFill>
            <a:blip r:embed="rId9"/>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9" name="Pfeil: Chevron 28">
            <a:extLst>
              <a:ext uri="{FF2B5EF4-FFF2-40B4-BE49-F238E27FC236}">
                <a16:creationId xmlns:a16="http://schemas.microsoft.com/office/drawing/2014/main" id="{B9B9A747-BAA6-52B5-89FE-A448C9569071}"/>
              </a:ext>
            </a:extLst>
          </p:cNvPr>
          <p:cNvSpPr/>
          <p:nvPr/>
        </p:nvSpPr>
        <p:spPr>
          <a:xfrm>
            <a:off x="6188681" y="1753217"/>
            <a:ext cx="2913801" cy="664465"/>
          </a:xfrm>
          <a:prstGeom prst="chevron">
            <a:avLst>
              <a:gd name="adj" fmla="val 38370"/>
            </a:avLst>
          </a:prstGeom>
          <a:blipFill>
            <a:blip r:embed="rId9"/>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0" name="Pfeil: Chevron 29">
            <a:extLst>
              <a:ext uri="{FF2B5EF4-FFF2-40B4-BE49-F238E27FC236}">
                <a16:creationId xmlns:a16="http://schemas.microsoft.com/office/drawing/2014/main" id="{601639D3-29B6-C45B-F6B7-3020130DE851}"/>
              </a:ext>
            </a:extLst>
          </p:cNvPr>
          <p:cNvSpPr/>
          <p:nvPr/>
        </p:nvSpPr>
        <p:spPr>
          <a:xfrm>
            <a:off x="8977047" y="1753217"/>
            <a:ext cx="2913801" cy="664465"/>
          </a:xfrm>
          <a:prstGeom prst="chevron">
            <a:avLst>
              <a:gd name="adj" fmla="val 38370"/>
            </a:avLst>
          </a:prstGeom>
          <a:blipFill>
            <a:blip r:embed="rId9"/>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1" name="AutoShape 25">
            <a:extLst>
              <a:ext uri="{FF2B5EF4-FFF2-40B4-BE49-F238E27FC236}">
                <a16:creationId xmlns:a16="http://schemas.microsoft.com/office/drawing/2014/main" id="{C5CDE4B1-B01F-108A-28F1-9B5BB57E4BBB}"/>
              </a:ext>
            </a:extLst>
          </p:cNvPr>
          <p:cNvSpPr>
            <a:spLocks noChangeArrowheads="1"/>
          </p:cNvSpPr>
          <p:nvPr/>
        </p:nvSpPr>
        <p:spPr bwMode="auto">
          <a:xfrm>
            <a:off x="6505797"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defTabSz="914330">
              <a:lnSpc>
                <a:spcPts val="1200"/>
              </a:lnSpc>
              <a:buClr>
                <a:srgbClr val="841439"/>
              </a:buClr>
              <a:buSzPct val="120000"/>
              <a:tabLst>
                <a:tab pos="3714462" algn="l"/>
              </a:tabLst>
              <a:defRPr/>
            </a:pPr>
            <a:r>
              <a:rPr lang="en-US" kern="0">
                <a:solidFill>
                  <a:schemeClr val="bg1"/>
                </a:solidFill>
              </a:rPr>
              <a:t>Service</a:t>
            </a:r>
          </a:p>
        </p:txBody>
      </p:sp>
      <p:sp>
        <p:nvSpPr>
          <p:cNvPr id="32" name="AutoShape 25">
            <a:extLst>
              <a:ext uri="{FF2B5EF4-FFF2-40B4-BE49-F238E27FC236}">
                <a16:creationId xmlns:a16="http://schemas.microsoft.com/office/drawing/2014/main" id="{1E6F7A36-950C-E7A2-DFEB-63D0FAACCD8C}"/>
              </a:ext>
            </a:extLst>
          </p:cNvPr>
          <p:cNvSpPr>
            <a:spLocks noChangeArrowheads="1"/>
          </p:cNvSpPr>
          <p:nvPr/>
        </p:nvSpPr>
        <p:spPr bwMode="auto">
          <a:xfrm>
            <a:off x="9250519"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Sell</a:t>
            </a:r>
          </a:p>
        </p:txBody>
      </p:sp>
      <p:sp>
        <p:nvSpPr>
          <p:cNvPr id="33" name="AutoShape 25">
            <a:extLst>
              <a:ext uri="{FF2B5EF4-FFF2-40B4-BE49-F238E27FC236}">
                <a16:creationId xmlns:a16="http://schemas.microsoft.com/office/drawing/2014/main" id="{43F91FAD-B3B3-7E02-6143-B93C0E43A058}"/>
              </a:ext>
            </a:extLst>
          </p:cNvPr>
          <p:cNvSpPr>
            <a:spLocks noChangeArrowheads="1"/>
          </p:cNvSpPr>
          <p:nvPr/>
        </p:nvSpPr>
        <p:spPr bwMode="auto">
          <a:xfrm>
            <a:off x="804874"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Build</a:t>
            </a:r>
          </a:p>
        </p:txBody>
      </p:sp>
      <p:sp>
        <p:nvSpPr>
          <p:cNvPr id="34" name="AutoShape 25">
            <a:extLst>
              <a:ext uri="{FF2B5EF4-FFF2-40B4-BE49-F238E27FC236}">
                <a16:creationId xmlns:a16="http://schemas.microsoft.com/office/drawing/2014/main" id="{11D21483-09F7-11FE-58D7-77F453D97C42}"/>
              </a:ext>
            </a:extLst>
          </p:cNvPr>
          <p:cNvSpPr>
            <a:spLocks noChangeArrowheads="1"/>
          </p:cNvSpPr>
          <p:nvPr/>
        </p:nvSpPr>
        <p:spPr bwMode="auto">
          <a:xfrm>
            <a:off x="3804773"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pPr>
            <a:r>
              <a:rPr lang="en-US" kern="0">
                <a:solidFill>
                  <a:schemeClr val="bg1"/>
                </a:solidFill>
              </a:rPr>
              <a:t>Run</a:t>
            </a:r>
          </a:p>
        </p:txBody>
      </p:sp>
      <p:pic>
        <p:nvPicPr>
          <p:cNvPr id="35" name="Grafik 34">
            <a:extLst>
              <a:ext uri="{FF2B5EF4-FFF2-40B4-BE49-F238E27FC236}">
                <a16:creationId xmlns:a16="http://schemas.microsoft.com/office/drawing/2014/main" id="{F27A2B7E-43C0-A488-6AE8-29C05C8F6D48}"/>
              </a:ext>
            </a:extLst>
          </p:cNvPr>
          <p:cNvPicPr>
            <a:picLocks noChangeAspect="1"/>
          </p:cNvPicPr>
          <p:nvPr/>
        </p:nvPicPr>
        <p:blipFill>
          <a:blip r:embed="rId10"/>
          <a:srcRect/>
          <a:stretch/>
        </p:blipFill>
        <p:spPr>
          <a:xfrm>
            <a:off x="726446" y="4136513"/>
            <a:ext cx="755329" cy="1093267"/>
          </a:xfrm>
          <a:prstGeom prst="rect">
            <a:avLst/>
          </a:prstGeom>
        </p:spPr>
      </p:pic>
      <p:pic>
        <p:nvPicPr>
          <p:cNvPr id="36" name="Grafik 35" descr="Ein Bild, das Text, Schrift, Logo, Grafiken enthält.&#10;&#10;Automatisch generierte Beschreibung">
            <a:extLst>
              <a:ext uri="{FF2B5EF4-FFF2-40B4-BE49-F238E27FC236}">
                <a16:creationId xmlns:a16="http://schemas.microsoft.com/office/drawing/2014/main" id="{AE0FFD3C-60A7-EBDC-7CA4-CEF6B507D9EC}"/>
              </a:ext>
            </a:extLst>
          </p:cNvPr>
          <p:cNvPicPr>
            <a:picLocks noChangeAspect="1"/>
          </p:cNvPicPr>
          <p:nvPr/>
        </p:nvPicPr>
        <p:blipFill rotWithShape="1">
          <a:blip r:embed="rId11"/>
          <a:srcRect l="26134" t="15959" r="25622" b="15868"/>
          <a:stretch/>
        </p:blipFill>
        <p:spPr>
          <a:xfrm>
            <a:off x="3372751" y="4147593"/>
            <a:ext cx="765909" cy="1085118"/>
          </a:xfrm>
          <a:prstGeom prst="rect">
            <a:avLst/>
          </a:prstGeom>
        </p:spPr>
      </p:pic>
      <p:pic>
        <p:nvPicPr>
          <p:cNvPr id="37" name="Grafik 13">
            <a:extLst>
              <a:ext uri="{FF2B5EF4-FFF2-40B4-BE49-F238E27FC236}">
                <a16:creationId xmlns:a16="http://schemas.microsoft.com/office/drawing/2014/main" id="{98D5645D-2AC6-912C-8481-BC847814DDC5}"/>
              </a:ext>
            </a:extLst>
          </p:cNvPr>
          <p:cNvPicPr>
            <a:picLocks noChangeAspect="1"/>
          </p:cNvPicPr>
          <p:nvPr/>
        </p:nvPicPr>
        <p:blipFill>
          <a:blip r:embed="rId12"/>
          <a:stretch>
            <a:fillRect/>
          </a:stretch>
        </p:blipFill>
        <p:spPr>
          <a:xfrm>
            <a:off x="2028686" y="4137778"/>
            <a:ext cx="748710" cy="1094932"/>
          </a:xfrm>
          <a:prstGeom prst="rect">
            <a:avLst/>
          </a:prstGeom>
        </p:spPr>
      </p:pic>
      <p:grpSp>
        <p:nvGrpSpPr>
          <p:cNvPr id="38" name="Gruppieren 37">
            <a:extLst>
              <a:ext uri="{FF2B5EF4-FFF2-40B4-BE49-F238E27FC236}">
                <a16:creationId xmlns:a16="http://schemas.microsoft.com/office/drawing/2014/main" id="{D968DB5D-1858-7AFA-1658-590C4DD41AC0}"/>
              </a:ext>
            </a:extLst>
          </p:cNvPr>
          <p:cNvGrpSpPr/>
          <p:nvPr/>
        </p:nvGrpSpPr>
        <p:grpSpPr>
          <a:xfrm>
            <a:off x="4575953" y="4189356"/>
            <a:ext cx="1962706" cy="1733902"/>
            <a:chOff x="5058968" y="4328435"/>
            <a:chExt cx="1962706" cy="1733902"/>
          </a:xfrm>
        </p:grpSpPr>
        <p:pic>
          <p:nvPicPr>
            <p:cNvPr id="40" name="Grafik 39">
              <a:extLst>
                <a:ext uri="{FF2B5EF4-FFF2-40B4-BE49-F238E27FC236}">
                  <a16:creationId xmlns:a16="http://schemas.microsoft.com/office/drawing/2014/main" id="{912C23F6-C148-DD31-A741-E2A122769DD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350065" y="4717850"/>
              <a:ext cx="1385072" cy="227414"/>
            </a:xfrm>
            <a:prstGeom prst="rect">
              <a:avLst/>
            </a:prstGeom>
          </p:spPr>
        </p:pic>
        <p:pic>
          <p:nvPicPr>
            <p:cNvPr id="42" name="Grafik 41">
              <a:extLst>
                <a:ext uri="{FF2B5EF4-FFF2-40B4-BE49-F238E27FC236}">
                  <a16:creationId xmlns:a16="http://schemas.microsoft.com/office/drawing/2014/main" id="{35F6F44B-558E-DA59-EDDE-6051B6BBBC57}"/>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058968" y="4328435"/>
              <a:ext cx="1962706" cy="354904"/>
            </a:xfrm>
            <a:prstGeom prst="rect">
              <a:avLst/>
            </a:prstGeom>
          </p:spPr>
        </p:pic>
        <p:pic>
          <p:nvPicPr>
            <p:cNvPr id="43" name="Picture 8" descr="Bildergebnis fÃ¼r sap certified in hosting services">
              <a:extLst>
                <a:ext uri="{FF2B5EF4-FFF2-40B4-BE49-F238E27FC236}">
                  <a16:creationId xmlns:a16="http://schemas.microsoft.com/office/drawing/2014/main" id="{BBDB9259-F16D-1D98-BF4B-181363A3F548}"/>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t="36370" b="37274"/>
            <a:stretch/>
          </p:blipFill>
          <p:spPr bwMode="auto">
            <a:xfrm>
              <a:off x="5241369" y="5748779"/>
              <a:ext cx="1173934" cy="31355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8" descr="Bildergebnis fÃ¼r sap certified in hosting services">
              <a:extLst>
                <a:ext uri="{FF2B5EF4-FFF2-40B4-BE49-F238E27FC236}">
                  <a16:creationId xmlns:a16="http://schemas.microsoft.com/office/drawing/2014/main" id="{8844C178-E9BE-746C-E000-FB4BF02B4D8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b="70538"/>
            <a:stretch/>
          </p:blipFill>
          <p:spPr bwMode="auto">
            <a:xfrm>
              <a:off x="5242021" y="4984746"/>
              <a:ext cx="1154020" cy="34456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8" descr="Bildergebnis fÃ¼r sap certified in hosting services">
              <a:extLst>
                <a:ext uri="{FF2B5EF4-FFF2-40B4-BE49-F238E27FC236}">
                  <a16:creationId xmlns:a16="http://schemas.microsoft.com/office/drawing/2014/main" id="{A1A626F9-183B-D01A-2498-56F6999691F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t="70430" b="2810"/>
            <a:stretch/>
          </p:blipFill>
          <p:spPr bwMode="auto">
            <a:xfrm>
              <a:off x="5238103" y="5376917"/>
              <a:ext cx="1154300" cy="313056"/>
            </a:xfrm>
            <a:prstGeom prst="rect">
              <a:avLst/>
            </a:prstGeom>
            <a:noFill/>
            <a:extLst>
              <a:ext uri="{909E8E84-426E-40DD-AFC4-6F175D3DCCD1}">
                <a14:hiddenFill xmlns:a14="http://schemas.microsoft.com/office/drawing/2010/main">
                  <a:solidFill>
                    <a:srgbClr val="FFFFFF"/>
                  </a:solidFill>
                </a14:hiddenFill>
              </a:ext>
            </a:extLst>
          </p:spPr>
        </p:pic>
      </p:grpSp>
      <p:pic>
        <p:nvPicPr>
          <p:cNvPr id="11" name="Grafik 11">
            <a:extLst>
              <a:ext uri="{FF2B5EF4-FFF2-40B4-BE49-F238E27FC236}">
                <a16:creationId xmlns:a16="http://schemas.microsoft.com/office/drawing/2014/main" id="{1570AB60-775F-A08D-6187-4C5C9B53BCD6}"/>
              </a:ext>
            </a:extLst>
          </p:cNvPr>
          <p:cNvPicPr>
            <a:picLocks noChangeAspect="1"/>
          </p:cNvPicPr>
          <p:nvPr/>
        </p:nvPicPr>
        <p:blipFill>
          <a:blip r:embed="rId16"/>
          <a:srcRect/>
          <a:stretch/>
        </p:blipFill>
        <p:spPr>
          <a:xfrm>
            <a:off x="7297892" y="3896726"/>
            <a:ext cx="937548" cy="2412000"/>
          </a:xfrm>
          <a:prstGeom prst="rect">
            <a:avLst/>
          </a:prstGeom>
        </p:spPr>
      </p:pic>
      <p:cxnSp>
        <p:nvCxnSpPr>
          <p:cNvPr id="23" name="Gerade Verbindung 19">
            <a:extLst>
              <a:ext uri="{FF2B5EF4-FFF2-40B4-BE49-F238E27FC236}">
                <a16:creationId xmlns:a16="http://schemas.microsoft.com/office/drawing/2014/main" id="{95E5FF49-4C81-1248-8BA8-6F2FBA799A73}"/>
              </a:ext>
            </a:extLst>
          </p:cNvPr>
          <p:cNvCxnSpPr>
            <a:cxnSpLocks/>
          </p:cNvCxnSpPr>
          <p:nvPr/>
        </p:nvCxnSpPr>
        <p:spPr>
          <a:xfrm>
            <a:off x="4357307" y="3903955"/>
            <a:ext cx="0"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24" name="Gerade Verbindung 38">
            <a:extLst>
              <a:ext uri="{FF2B5EF4-FFF2-40B4-BE49-F238E27FC236}">
                <a16:creationId xmlns:a16="http://schemas.microsoft.com/office/drawing/2014/main" id="{0BFEF2DF-DA91-381D-2DC8-4F1ECB52C92D}"/>
              </a:ext>
            </a:extLst>
          </p:cNvPr>
          <p:cNvCxnSpPr>
            <a:cxnSpLocks/>
          </p:cNvCxnSpPr>
          <p:nvPr/>
        </p:nvCxnSpPr>
        <p:spPr>
          <a:xfrm>
            <a:off x="6771622" y="3894548"/>
            <a:ext cx="5432"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26" name="Gerade Verbindung 12">
            <a:extLst>
              <a:ext uri="{FF2B5EF4-FFF2-40B4-BE49-F238E27FC236}">
                <a16:creationId xmlns:a16="http://schemas.microsoft.com/office/drawing/2014/main" id="{C2503799-C3A0-09F2-F88C-084CC968C93B}"/>
              </a:ext>
            </a:extLst>
          </p:cNvPr>
          <p:cNvCxnSpPr>
            <a:cxnSpLocks/>
          </p:cNvCxnSpPr>
          <p:nvPr/>
        </p:nvCxnSpPr>
        <p:spPr>
          <a:xfrm>
            <a:off x="8690920" y="3888086"/>
            <a:ext cx="5432"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70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E599E38-B828-2D0F-0628-32E71CA475E4}"/>
              </a:ext>
            </a:extLst>
          </p:cNvPr>
          <p:cNvPicPr>
            <a:picLocks noChangeAspect="1"/>
          </p:cNvPicPr>
          <p:nvPr/>
        </p:nvPicPr>
        <p:blipFill>
          <a:blip r:embed="rId4"/>
          <a:srcRect/>
          <a:stretch/>
        </p:blipFill>
        <p:spPr>
          <a:xfrm>
            <a:off x="2204" y="1242"/>
            <a:ext cx="12204035" cy="6864769"/>
          </a:xfrm>
          <a:prstGeom prst="rect">
            <a:avLst/>
          </a:prstGeom>
        </p:spPr>
      </p:pic>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ußzeilenplatzhalter 3">
            <a:extLst>
              <a:ext uri="{FF2B5EF4-FFF2-40B4-BE49-F238E27FC236}">
                <a16:creationId xmlns:a16="http://schemas.microsoft.com/office/drawing/2014/main" id="{A056FEBF-7C9D-F149-AC25-734E5D897AAF}"/>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425418" y="6443762"/>
            <a:ext cx="431620" cy="153888"/>
          </a:xfrm>
        </p:spPr>
        <p:txBody>
          <a:bodyPr/>
          <a:lstStyle/>
          <a:p>
            <a:fld id="{B27B0579-4238-4E44-9A9E-134B676F827C}" type="slidenum">
              <a:rPr lang="de-DE" dirty="0" smtClean="0">
                <a:solidFill>
                  <a:schemeClr val="bg1"/>
                </a:solidFill>
              </a:rPr>
              <a:pPr/>
              <a:t>23</a:t>
            </a:fld>
            <a:endParaRPr lang="de-DE">
              <a:solidFill>
                <a:schemeClr val="bg1"/>
              </a:solidFill>
            </a:endParaRPr>
          </a:p>
        </p:txBody>
      </p:sp>
      <p:sp>
        <p:nvSpPr>
          <p:cNvPr id="5" name="Diagonal liegende Ecken des Rechtecks abrunden 4">
            <a:extLst>
              <a:ext uri="{FF2B5EF4-FFF2-40B4-BE49-F238E27FC236}">
                <a16:creationId xmlns:a16="http://schemas.microsoft.com/office/drawing/2014/main" id="{C779A05A-1398-92E1-7024-6048C1D065C3}"/>
              </a:ext>
            </a:extLst>
          </p:cNvPr>
          <p:cNvSpPr/>
          <p:nvPr/>
        </p:nvSpPr>
        <p:spPr>
          <a:xfrm flipV="1">
            <a:off x="623888" y="4160516"/>
            <a:ext cx="8970405"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0" name="Titel 1">
            <a:extLst>
              <a:ext uri="{FF2B5EF4-FFF2-40B4-BE49-F238E27FC236}">
                <a16:creationId xmlns:a16="http://schemas.microsoft.com/office/drawing/2014/main" id="{E3A2740E-D216-8DE3-3870-3F27F2834865}"/>
              </a:ext>
            </a:extLst>
          </p:cNvPr>
          <p:cNvSpPr txBox="1">
            <a:spLocks/>
          </p:cNvSpPr>
          <p:nvPr/>
        </p:nvSpPr>
        <p:spPr>
          <a:xfrm>
            <a:off x="1239310" y="4895522"/>
            <a:ext cx="835498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err="1">
                <a:solidFill>
                  <a:schemeClr val="tx1"/>
                </a:solidFill>
                <a:latin typeface="+mn-lt"/>
              </a:rPr>
              <a:t>Convincing</a:t>
            </a:r>
            <a:r>
              <a:rPr lang="de-DE" sz="4300">
                <a:solidFill>
                  <a:schemeClr val="tx1"/>
                </a:solidFill>
                <a:latin typeface="+mn-lt"/>
              </a:rPr>
              <a:t> </a:t>
            </a:r>
            <a:r>
              <a:rPr lang="de-DE" sz="4300" err="1">
                <a:solidFill>
                  <a:schemeClr val="tx1"/>
                </a:solidFill>
                <a:latin typeface="+mn-lt"/>
              </a:rPr>
              <a:t>success</a:t>
            </a:r>
            <a:r>
              <a:rPr lang="de-DE" sz="4300">
                <a:solidFill>
                  <a:schemeClr val="tx1"/>
                </a:solidFill>
                <a:latin typeface="+mn-lt"/>
              </a:rPr>
              <a:t> </a:t>
            </a:r>
            <a:r>
              <a:rPr lang="de-DE" sz="4300" err="1">
                <a:solidFill>
                  <a:schemeClr val="tx1"/>
                </a:solidFill>
                <a:latin typeface="+mn-lt"/>
              </a:rPr>
              <a:t>stories</a:t>
            </a:r>
            <a:endParaRPr lang="de-DE" sz="4300">
              <a:solidFill>
                <a:schemeClr val="tx1"/>
              </a:solidFill>
              <a:latin typeface="+mn-lt"/>
            </a:endParaRPr>
          </a:p>
        </p:txBody>
      </p:sp>
      <p:sp>
        <p:nvSpPr>
          <p:cNvPr id="12" name="Untertitel 2">
            <a:extLst>
              <a:ext uri="{FF2B5EF4-FFF2-40B4-BE49-F238E27FC236}">
                <a16:creationId xmlns:a16="http://schemas.microsoft.com/office/drawing/2014/main" id="{89280539-3E2B-003C-A4FA-57E066FEE6CD}"/>
              </a:ext>
            </a:extLst>
          </p:cNvPr>
          <p:cNvSpPr txBox="1">
            <a:spLocks/>
          </p:cNvSpPr>
          <p:nvPr/>
        </p:nvSpPr>
        <p:spPr>
          <a:xfrm>
            <a:off x="1266180" y="4496542"/>
            <a:ext cx="832811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Trust and </a:t>
            </a:r>
            <a:r>
              <a:rPr kumimoji="0" lang="de-DE" sz="1600" u="none" strike="noStrike" kern="1200" cap="none" spc="0" normalizeH="0" baseline="0" noProof="0" err="1">
                <a:ln>
                  <a:noFill/>
                </a:ln>
                <a:effectLst/>
                <a:uLnTx/>
                <a:uFillTx/>
                <a:cs typeface="Calibri Light"/>
              </a:rPr>
              <a:t>competence</a:t>
            </a:r>
            <a:endParaRPr kumimoji="0" lang="de-DE" sz="1600" u="none" strike="noStrike" kern="1200" cap="none" spc="0" normalizeH="0" baseline="0" noProof="0">
              <a:ln>
                <a:noFill/>
              </a:ln>
              <a:effectLst/>
              <a:uLnTx/>
              <a:uFillTx/>
              <a:cs typeface="Calibri Light"/>
            </a:endParaRPr>
          </a:p>
        </p:txBody>
      </p:sp>
      <p:sp>
        <p:nvSpPr>
          <p:cNvPr id="13" name="Ellipse 13">
            <a:extLst>
              <a:ext uri="{FF2B5EF4-FFF2-40B4-BE49-F238E27FC236}">
                <a16:creationId xmlns:a16="http://schemas.microsoft.com/office/drawing/2014/main" id="{424346A2-9D3F-F78C-1D71-5993D877420F}"/>
              </a:ext>
            </a:extLst>
          </p:cNvPr>
          <p:cNvSpPr/>
          <p:nvPr/>
        </p:nvSpPr>
        <p:spPr>
          <a:xfrm>
            <a:off x="790713" y="447496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3</a:t>
            </a:r>
          </a:p>
        </p:txBody>
      </p:sp>
      <p:pic>
        <p:nvPicPr>
          <p:cNvPr id="6" name="Grafik 5">
            <a:extLst>
              <a:ext uri="{FF2B5EF4-FFF2-40B4-BE49-F238E27FC236}">
                <a16:creationId xmlns:a16="http://schemas.microsoft.com/office/drawing/2014/main" id="{89368779-677F-0095-4055-D1E0B5F664A0}"/>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66872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iagonal liegende Ecken des Rechtecks abrunden 4">
            <a:extLst>
              <a:ext uri="{FF2B5EF4-FFF2-40B4-BE49-F238E27FC236}">
                <a16:creationId xmlns:a16="http://schemas.microsoft.com/office/drawing/2014/main" id="{9D8DB784-3388-EB97-303E-6568212C5A76}"/>
              </a:ext>
            </a:extLst>
          </p:cNvPr>
          <p:cNvSpPr/>
          <p:nvPr/>
        </p:nvSpPr>
        <p:spPr>
          <a:xfrm>
            <a:off x="6491287" y="1773238"/>
            <a:ext cx="5700713" cy="3553710"/>
          </a:xfrm>
          <a:prstGeom prst="round2DiagRect">
            <a:avLst>
              <a:gd name="adj1" fmla="val 0"/>
              <a:gd name="adj2" fmla="val 4822"/>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2A465842-9CE4-C44E-7A4D-17202EC0DEF8}"/>
              </a:ext>
            </a:extLst>
          </p:cNvPr>
          <p:cNvSpPr>
            <a:spLocks noGrp="1"/>
          </p:cNvSpPr>
          <p:nvPr>
            <p:ph type="body" sz="quarter" idx="12"/>
          </p:nvPr>
        </p:nvSpPr>
        <p:spPr/>
        <p:txBody>
          <a:bodyPr/>
          <a:lstStyle/>
          <a:p>
            <a:r>
              <a:rPr lang="de-DE"/>
              <a:t>Convincing success stories</a:t>
            </a:r>
          </a:p>
        </p:txBody>
      </p:sp>
      <p:sp>
        <p:nvSpPr>
          <p:cNvPr id="3" name="Titel 2">
            <a:extLst>
              <a:ext uri="{FF2B5EF4-FFF2-40B4-BE49-F238E27FC236}">
                <a16:creationId xmlns:a16="http://schemas.microsoft.com/office/drawing/2014/main" id="{505FA704-3ECC-D4C6-9BBC-FAAF9E16BB33}"/>
              </a:ext>
            </a:extLst>
          </p:cNvPr>
          <p:cNvSpPr>
            <a:spLocks noGrp="1"/>
          </p:cNvSpPr>
          <p:nvPr>
            <p:ph type="title"/>
          </p:nvPr>
        </p:nvSpPr>
        <p:spPr/>
        <p:txBody>
          <a:bodyPr/>
          <a:lstStyle/>
          <a:p>
            <a:r>
              <a:rPr lang="en-US" dirty="0"/>
              <a:t>Setup of a central SAP BW/4HANA and SAP Analytics Cloud solution to efficiently pursue strategic corporate goals at </a:t>
            </a:r>
            <a:r>
              <a:rPr lang="en-US" b="1" dirty="0"/>
              <a:t>REFRATECHNIK</a:t>
            </a:r>
          </a:p>
        </p:txBody>
      </p:sp>
      <p:sp>
        <p:nvSpPr>
          <p:cNvPr id="4" name="Fußzeilenplatzhalter 1">
            <a:extLst>
              <a:ext uri="{FF2B5EF4-FFF2-40B4-BE49-F238E27FC236}">
                <a16:creationId xmlns:a16="http://schemas.microsoft.com/office/drawing/2014/main" id="{F26B8259-7AF3-DB63-C9AC-548675D2A7E6}"/>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4</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6155" y="1773238"/>
            <a:ext cx="5661025" cy="4629142"/>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r>
              <a:rPr lang="de-DE" sz="1600" b="1" dirty="0">
                <a:cs typeface="Calibri Light"/>
              </a:rPr>
              <a:t>Project </a:t>
            </a:r>
            <a:r>
              <a:rPr lang="de-DE" sz="1600" b="1" dirty="0" err="1">
                <a:cs typeface="Calibri Light"/>
              </a:rPr>
              <a:t>goals</a:t>
            </a:r>
            <a:endParaRPr lang="de-DE" sz="1600" b="1" dirty="0">
              <a:cs typeface="Calibri Light"/>
            </a:endParaRPr>
          </a:p>
          <a:p>
            <a:pPr marL="143510" indent="-143510">
              <a:lnSpc>
                <a:spcPct val="100000"/>
              </a:lnSpc>
              <a:spcAft>
                <a:spcPts val="300"/>
              </a:spcAft>
              <a:buFont typeface="Arial" panose="020B0604020202020204" pitchFamily="34" charset="0"/>
              <a:buChar char="•"/>
            </a:pPr>
            <a:r>
              <a:rPr lang="en-US" sz="1600" dirty="0">
                <a:cs typeface="Calibri Light"/>
              </a:rPr>
              <a:t>Efficient pursuit of strategic corporate goals through the establishment of a centralized and KPI-supported analytics system</a:t>
            </a:r>
          </a:p>
          <a:p>
            <a:pPr marL="143510" indent="-143510">
              <a:lnSpc>
                <a:spcPct val="100000"/>
              </a:lnSpc>
              <a:spcAft>
                <a:spcPts val="300"/>
              </a:spcAft>
              <a:buFont typeface="Arial" panose="020B0604020202020204" pitchFamily="34" charset="0"/>
              <a:buChar char="•"/>
            </a:pPr>
            <a:r>
              <a:rPr lang="en-US" sz="1600" dirty="0">
                <a:cs typeface="Calibri Light"/>
              </a:rPr>
              <a:t>Implementation of the application based on SAP BW/4HANA</a:t>
            </a:r>
          </a:p>
          <a:p>
            <a:pPr marL="143510" indent="-143510">
              <a:lnSpc>
                <a:spcPct val="100000"/>
              </a:lnSpc>
              <a:spcAft>
                <a:spcPts val="300"/>
              </a:spcAft>
              <a:buFont typeface="Arial" panose="020B0604020202020204" pitchFamily="34" charset="0"/>
              <a:buChar char="•"/>
            </a:pPr>
            <a:r>
              <a:rPr lang="en-US" sz="1600" dirty="0">
                <a:cs typeface="Calibri Light"/>
              </a:rPr>
              <a:t>Establishment of direct connection scenarios for further analyses and management reporting in the SAP Analytics Cloud</a:t>
            </a:r>
          </a:p>
          <a:p>
            <a:pPr marL="143510" indent="-143510">
              <a:lnSpc>
                <a:spcPct val="100000"/>
              </a:lnSpc>
              <a:spcAft>
                <a:spcPts val="300"/>
              </a:spcAft>
              <a:buFont typeface="Arial" panose="020B0604020202020204" pitchFamily="34" charset="0"/>
              <a:buChar char="•"/>
            </a:pPr>
            <a:r>
              <a:rPr lang="en-US" sz="1600" dirty="0">
                <a:cs typeface="Calibri Light"/>
              </a:rPr>
              <a:t>Establishment of GEO analysts and mobilization of the application</a:t>
            </a:r>
          </a:p>
          <a:p>
            <a:pPr>
              <a:lnSpc>
                <a:spcPct val="100000"/>
              </a:lnSpc>
              <a:spcAft>
                <a:spcPts val="300"/>
              </a:spcAft>
            </a:pPr>
            <a:endParaRPr lang="de-DE" sz="1600" dirty="0">
              <a:cs typeface="Calibri Light"/>
            </a:endParaRPr>
          </a:p>
          <a:p>
            <a:pPr>
              <a:lnSpc>
                <a:spcPct val="100000"/>
              </a:lnSpc>
              <a:spcAft>
                <a:spcPts val="300"/>
              </a:spcAft>
            </a:pPr>
            <a:r>
              <a:rPr lang="de-DE" sz="1600" b="1" dirty="0">
                <a:cs typeface="Calibri Light"/>
              </a:rPr>
              <a:t>Customer </a:t>
            </a:r>
            <a:r>
              <a:rPr lang="de-DE" sz="1600" b="1" dirty="0" err="1">
                <a:cs typeface="Calibri Light"/>
              </a:rPr>
              <a:t>benefits</a:t>
            </a:r>
            <a:endParaRPr lang="de-DE" sz="1600" b="1" dirty="0">
              <a:cs typeface="Calibri Light"/>
            </a:endParaRPr>
          </a:p>
          <a:p>
            <a:pPr marL="143510" indent="-143510">
              <a:lnSpc>
                <a:spcPct val="100000"/>
              </a:lnSpc>
              <a:spcAft>
                <a:spcPts val="300"/>
              </a:spcAft>
              <a:buFont typeface="Arial" panose="020B0604020202020204" pitchFamily="34" charset="0"/>
              <a:buChar char="•"/>
            </a:pPr>
            <a:r>
              <a:rPr lang="en-US" sz="1600" dirty="0">
                <a:cs typeface="Calibri Light"/>
              </a:rPr>
              <a:t>Development of the central Analytics &amp; Controlling application for flexible analyses and profitability assessments</a:t>
            </a:r>
          </a:p>
          <a:p>
            <a:pPr marL="143510" indent="-143510">
              <a:lnSpc>
                <a:spcPct val="100000"/>
              </a:lnSpc>
              <a:spcAft>
                <a:spcPts val="300"/>
              </a:spcAft>
              <a:buFont typeface="Arial" panose="020B0604020202020204" pitchFamily="34" charset="0"/>
              <a:buChar char="•"/>
            </a:pPr>
            <a:r>
              <a:rPr lang="en-US" sz="1600" dirty="0">
                <a:cs typeface="Calibri Light"/>
              </a:rPr>
              <a:t>Strategic consulting for further system development</a:t>
            </a:r>
          </a:p>
          <a:p>
            <a:pPr marL="143510" indent="-143510">
              <a:lnSpc>
                <a:spcPct val="100000"/>
              </a:lnSpc>
              <a:spcAft>
                <a:spcPts val="300"/>
              </a:spcAft>
              <a:buFont typeface="Arial" panose="020B0604020202020204" pitchFamily="34" charset="0"/>
              <a:buChar char="•"/>
            </a:pPr>
            <a:endParaRPr lang="de-DE" sz="1600" dirty="0">
              <a:cs typeface="Calibri Light" panose="020F0302020204030204" pitchFamily="34" charset="0"/>
            </a:endParaRPr>
          </a:p>
        </p:txBody>
      </p:sp>
      <p:pic>
        <p:nvPicPr>
          <p:cNvPr id="2" name="Grafik 1" descr="Ein Bild, das Schrift, Grafiken, Text, Logo enthält.&#10;&#10;Beschreibung automatisch generiert.">
            <a:extLst>
              <a:ext uri="{FF2B5EF4-FFF2-40B4-BE49-F238E27FC236}">
                <a16:creationId xmlns:a16="http://schemas.microsoft.com/office/drawing/2014/main" id="{1E0F6687-F9F1-4CF4-8A2F-3770CE4F7CB4}"/>
              </a:ext>
            </a:extLst>
          </p:cNvPr>
          <p:cNvPicPr>
            <a:picLocks noChangeAspect="1"/>
          </p:cNvPicPr>
          <p:nvPr/>
        </p:nvPicPr>
        <p:blipFill>
          <a:blip r:embed="rId7"/>
          <a:stretch>
            <a:fillRect/>
          </a:stretch>
        </p:blipFill>
        <p:spPr>
          <a:xfrm>
            <a:off x="9592405" y="5676858"/>
            <a:ext cx="2264633" cy="429917"/>
          </a:xfrm>
          <a:prstGeom prst="rect">
            <a:avLst/>
          </a:prstGeom>
        </p:spPr>
      </p:pic>
    </p:spTree>
    <p:extLst>
      <p:ext uri="{BB962C8B-B14F-4D97-AF65-F5344CB8AC3E}">
        <p14:creationId xmlns:p14="http://schemas.microsoft.com/office/powerpoint/2010/main" val="422722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78290423-149C-9D45-FBCD-EDA8405DFFF9}"/>
              </a:ext>
            </a:extLst>
          </p:cNvPr>
          <p:cNvSpPr>
            <a:spLocks noGrp="1"/>
          </p:cNvSpPr>
          <p:nvPr>
            <p:ph type="body" sz="quarter" idx="12"/>
          </p:nvPr>
        </p:nvSpPr>
        <p:spPr/>
        <p:txBody>
          <a:bodyPr/>
          <a:lstStyle/>
          <a:p>
            <a:r>
              <a:rPr lang="de-DE" err="1"/>
              <a:t>Convincing</a:t>
            </a:r>
            <a:r>
              <a:rPr lang="de-DE"/>
              <a:t> </a:t>
            </a:r>
            <a:r>
              <a:rPr lang="de-DE" err="1"/>
              <a:t>success</a:t>
            </a:r>
            <a:r>
              <a:rPr lang="de-DE"/>
              <a:t> </a:t>
            </a:r>
            <a:r>
              <a:rPr lang="de-DE" err="1"/>
              <a:t>stories</a:t>
            </a:r>
            <a:endParaRPr lang="de-DE"/>
          </a:p>
        </p:txBody>
      </p:sp>
      <p:sp>
        <p:nvSpPr>
          <p:cNvPr id="12" name="Titel 11">
            <a:extLst>
              <a:ext uri="{FF2B5EF4-FFF2-40B4-BE49-F238E27FC236}">
                <a16:creationId xmlns:a16="http://schemas.microsoft.com/office/drawing/2014/main" id="{6D7FCABA-BF73-A164-8789-8DC03138B727}"/>
              </a:ext>
            </a:extLst>
          </p:cNvPr>
          <p:cNvSpPr>
            <a:spLocks noGrp="1"/>
          </p:cNvSpPr>
          <p:nvPr>
            <p:ph type="title"/>
          </p:nvPr>
        </p:nvSpPr>
        <p:spPr/>
        <p:txBody>
          <a:bodyPr/>
          <a:lstStyle/>
          <a:p>
            <a:r>
              <a:rPr lang="en-US" dirty="0"/>
              <a:t>New migration approach for assuming balance sheet control: </a:t>
            </a:r>
            <a:br>
              <a:rPr lang="en-US" dirty="0"/>
            </a:br>
            <a:r>
              <a:rPr lang="en-US" dirty="0"/>
              <a:t>Constant financial oversight through SAP FI migration at </a:t>
            </a:r>
            <a:r>
              <a:rPr lang="en-US" b="1" dirty="0"/>
              <a:t>VIRIDIUM</a:t>
            </a:r>
            <a:endParaRPr lang="de-DE" b="1" dirty="0"/>
          </a:p>
        </p:txBody>
      </p:sp>
      <p:sp>
        <p:nvSpPr>
          <p:cNvPr id="4" name="Fußzeilenplatzhalter 1">
            <a:extLst>
              <a:ext uri="{FF2B5EF4-FFF2-40B4-BE49-F238E27FC236}">
                <a16:creationId xmlns:a16="http://schemas.microsoft.com/office/drawing/2014/main" id="{D65BCD1A-25AF-5EB2-82F9-C97CF78B174A}"/>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5</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6155" y="1770977"/>
            <a:ext cx="5256212" cy="4629142"/>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r>
              <a:rPr lang="de-DE" sz="1600">
                <a:latin typeface="Aptos Bold" panose="020B0004020202020204" pitchFamily="34" charset="0"/>
                <a:cs typeface="Calibri Light"/>
              </a:rPr>
              <a:t>Project </a:t>
            </a:r>
            <a:r>
              <a:rPr lang="de-DE" sz="1600" err="1">
                <a:latin typeface="Aptos Bold" panose="020B0004020202020204" pitchFamily="34" charset="0"/>
                <a:cs typeface="Calibri Light"/>
              </a:rPr>
              <a:t>goals</a:t>
            </a:r>
            <a:endParaRPr lang="de-DE" sz="1600">
              <a:latin typeface="Aptos Bold" panose="020B0004020202020204" pitchFamily="34" charset="0"/>
              <a:cs typeface="Calibri Light"/>
            </a:endParaRP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Supporting Financial Accounting, Controlling and Group Accounting with FI migration</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Creation of migration concept and design of the interface for ongoing data transfer</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Creation of mapping for various migration objects</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Creation of test concept and operation manual</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FI/CO Customizing</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Supporting the specialist department with test migrations</a:t>
            </a:r>
            <a:br>
              <a:rPr lang="en-US" sz="1600">
                <a:latin typeface="Aptos Light" panose="020B0004020202020204" pitchFamily="34" charset="0"/>
                <a:cs typeface="Calibri Light"/>
              </a:rPr>
            </a:br>
            <a:endParaRPr lang="en-US" sz="1600">
              <a:latin typeface="Aptos Light" panose="020B0004020202020204" pitchFamily="34" charset="0"/>
              <a:cs typeface="Calibri Light"/>
            </a:endParaRPr>
          </a:p>
          <a:p>
            <a:pPr>
              <a:lnSpc>
                <a:spcPct val="100000"/>
              </a:lnSpc>
              <a:spcAft>
                <a:spcPts val="300"/>
              </a:spcAft>
            </a:pPr>
            <a:r>
              <a:rPr lang="de-DE" sz="1600">
                <a:latin typeface="Aptos Bold" panose="020B0004020202020204" pitchFamily="34" charset="0"/>
                <a:cs typeface="Calibri Light"/>
              </a:rPr>
              <a:t>Customer </a:t>
            </a:r>
            <a:r>
              <a:rPr lang="de-DE" sz="1600" err="1">
                <a:latin typeface="Aptos Bold" panose="020B0004020202020204" pitchFamily="34" charset="0"/>
                <a:cs typeface="Calibri Light"/>
              </a:rPr>
              <a:t>benefits</a:t>
            </a:r>
            <a:endParaRPr lang="de-DE" sz="1600">
              <a:latin typeface="Aptos Bold" panose="020B0004020202020204" pitchFamily="34" charset="0"/>
              <a:cs typeface="Calibri Light"/>
            </a:endParaRP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Analysis of financial key figures for better control of business decisions</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Increased efficiency through highly automated, data-driven financial processes</a:t>
            </a:r>
          </a:p>
          <a:p>
            <a:pPr marL="143510" indent="-143510">
              <a:lnSpc>
                <a:spcPct val="100000"/>
              </a:lnSpc>
              <a:spcAft>
                <a:spcPts val="300"/>
              </a:spcAft>
              <a:buFont typeface="Arial" panose="020B0604020202020204" pitchFamily="34" charset="0"/>
              <a:buChar char="•"/>
            </a:pPr>
            <a:r>
              <a:rPr lang="en-US" sz="1600">
                <a:latin typeface="Aptos Light" panose="020B0004020202020204" pitchFamily="34" charset="0"/>
                <a:cs typeface="Calibri Light"/>
              </a:rPr>
              <a:t>Reducing the cost of regulatory compliance</a:t>
            </a:r>
          </a:p>
          <a:p>
            <a:pPr marL="143510" indent="-143510">
              <a:lnSpc>
                <a:spcPct val="100000"/>
              </a:lnSpc>
              <a:spcAft>
                <a:spcPts val="300"/>
              </a:spcAft>
              <a:buFont typeface="Arial" panose="020B0604020202020204" pitchFamily="34" charset="0"/>
              <a:buChar char="•"/>
            </a:pPr>
            <a:endParaRPr lang="de-DE" sz="1600">
              <a:latin typeface="Calibri Light"/>
              <a:ea typeface="Calibri Light"/>
              <a:cs typeface="Calibri Light"/>
            </a:endParaRPr>
          </a:p>
        </p:txBody>
      </p:sp>
      <p:pic>
        <p:nvPicPr>
          <p:cNvPr id="2" name="Grafik 1" descr="Ein Bild, das Schrift, Grafiken, Text, Logo enthält.&#10;&#10;Beschreibung automatisch generiert.">
            <a:extLst>
              <a:ext uri="{FF2B5EF4-FFF2-40B4-BE49-F238E27FC236}">
                <a16:creationId xmlns:a16="http://schemas.microsoft.com/office/drawing/2014/main" id="{78606B49-5E8F-4130-1208-312297C533A1}"/>
              </a:ext>
            </a:extLst>
          </p:cNvPr>
          <p:cNvPicPr>
            <a:picLocks noChangeAspect="1"/>
          </p:cNvPicPr>
          <p:nvPr/>
        </p:nvPicPr>
        <p:blipFill>
          <a:blip r:embed="rId6"/>
          <a:stretch>
            <a:fillRect/>
          </a:stretch>
        </p:blipFill>
        <p:spPr>
          <a:xfrm>
            <a:off x="10202917" y="5623746"/>
            <a:ext cx="1654121" cy="469079"/>
          </a:xfrm>
          <a:prstGeom prst="rect">
            <a:avLst/>
          </a:prstGeom>
        </p:spPr>
      </p:pic>
      <p:sp>
        <p:nvSpPr>
          <p:cNvPr id="3" name="Diagonal liegende Ecken des Rechtecks abrunden 2">
            <a:extLst>
              <a:ext uri="{FF2B5EF4-FFF2-40B4-BE49-F238E27FC236}">
                <a16:creationId xmlns:a16="http://schemas.microsoft.com/office/drawing/2014/main" id="{5C382282-E7CA-8BE2-9268-BFF54A7BA0B5}"/>
              </a:ext>
            </a:extLst>
          </p:cNvPr>
          <p:cNvSpPr/>
          <p:nvPr/>
        </p:nvSpPr>
        <p:spPr>
          <a:xfrm>
            <a:off x="6491287" y="1773238"/>
            <a:ext cx="5700713" cy="3553710"/>
          </a:xfrm>
          <a:prstGeom prst="round2DiagRect">
            <a:avLst>
              <a:gd name="adj1" fmla="val 0"/>
              <a:gd name="adj2" fmla="val 4822"/>
            </a:avLst>
          </a:prstGeom>
          <a:blipFill>
            <a:blip r:embed="rId7"/>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279238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D73380BC-CE29-C0DF-E11F-5B0D2B42D2A0}"/>
              </a:ext>
            </a:extLst>
          </p:cNvPr>
          <p:cNvSpPr>
            <a:spLocks noGrp="1"/>
          </p:cNvSpPr>
          <p:nvPr>
            <p:ph type="body" sz="quarter" idx="12"/>
          </p:nvPr>
        </p:nvSpPr>
        <p:spPr/>
        <p:txBody>
          <a:bodyPr/>
          <a:lstStyle/>
          <a:p>
            <a:r>
              <a:rPr lang="de-DE" err="1"/>
              <a:t>Convincing</a:t>
            </a:r>
            <a:r>
              <a:rPr lang="de-DE"/>
              <a:t> </a:t>
            </a:r>
            <a:r>
              <a:rPr lang="de-DE" err="1"/>
              <a:t>success</a:t>
            </a:r>
            <a:r>
              <a:rPr lang="de-DE"/>
              <a:t> </a:t>
            </a:r>
            <a:r>
              <a:rPr lang="de-DE" err="1"/>
              <a:t>stories</a:t>
            </a:r>
            <a:endParaRPr lang="de-DE"/>
          </a:p>
        </p:txBody>
      </p:sp>
      <p:sp>
        <p:nvSpPr>
          <p:cNvPr id="2" name="Titel 1">
            <a:extLst>
              <a:ext uri="{FF2B5EF4-FFF2-40B4-BE49-F238E27FC236}">
                <a16:creationId xmlns:a16="http://schemas.microsoft.com/office/drawing/2014/main" id="{56D625F5-5516-15D3-3785-FDBEB6409232}"/>
              </a:ext>
            </a:extLst>
          </p:cNvPr>
          <p:cNvSpPr>
            <a:spLocks noGrp="1"/>
          </p:cNvSpPr>
          <p:nvPr>
            <p:ph type="title"/>
          </p:nvPr>
        </p:nvSpPr>
        <p:spPr/>
        <p:txBody>
          <a:bodyPr/>
          <a:lstStyle/>
          <a:p>
            <a:r>
              <a:rPr lang="en-US" dirty="0"/>
              <a:t>Intelligent heating with </a:t>
            </a:r>
            <a:r>
              <a:rPr lang="en-US" b="1" dirty="0" err="1"/>
              <a:t>Techem</a:t>
            </a:r>
            <a:r>
              <a:rPr lang="en-US" dirty="0"/>
              <a:t>: The Cloud way to sustainability</a:t>
            </a:r>
          </a:p>
        </p:txBody>
      </p:sp>
      <p:sp>
        <p:nvSpPr>
          <p:cNvPr id="15" name="Inhaltsplatzhalter 14">
            <a:extLst>
              <a:ext uri="{FF2B5EF4-FFF2-40B4-BE49-F238E27FC236}">
                <a16:creationId xmlns:a16="http://schemas.microsoft.com/office/drawing/2014/main" id="{8B0AC95D-154A-E335-83BE-7271E2B71331}"/>
              </a:ext>
            </a:extLst>
          </p:cNvPr>
          <p:cNvSpPr>
            <a:spLocks noGrp="1"/>
          </p:cNvSpPr>
          <p:nvPr>
            <p:ph idx="1"/>
          </p:nvPr>
        </p:nvSpPr>
        <p:spPr/>
        <p:txBody>
          <a:bodyPr/>
          <a:lstStyle/>
          <a:p>
            <a:r>
              <a:rPr lang="de-DE">
                <a:latin typeface="Aptos Bold" panose="020B0004020202020204" pitchFamily="34" charset="0"/>
              </a:rPr>
              <a:t>Project </a:t>
            </a:r>
            <a:r>
              <a:rPr lang="de-DE" err="1">
                <a:latin typeface="Aptos Bold" panose="020B0004020202020204" pitchFamily="34" charset="0"/>
              </a:rPr>
              <a:t>goals</a:t>
            </a:r>
            <a:endParaRPr lang="de-DE">
              <a:latin typeface="Aptos Bold" panose="020B0004020202020204" pitchFamily="34" charset="0"/>
            </a:endParaRPr>
          </a:p>
          <a:p>
            <a:pPr lvl="1"/>
            <a:r>
              <a:rPr lang="en-US"/>
              <a:t>Reduction of energy and water consumption  </a:t>
            </a:r>
          </a:p>
          <a:p>
            <a:pPr lvl="1"/>
            <a:r>
              <a:rPr lang="en-US"/>
              <a:t>Increase in healthy housing </a:t>
            </a:r>
          </a:p>
          <a:p>
            <a:pPr lvl="1"/>
            <a:r>
              <a:rPr lang="en-US"/>
              <a:t>Increasing the transparency of measurement data</a:t>
            </a:r>
            <a:br>
              <a:rPr lang="en-US"/>
            </a:br>
            <a:endParaRPr lang="de-DE"/>
          </a:p>
          <a:p>
            <a:r>
              <a:rPr lang="de-DE">
                <a:latin typeface="Aptos Bold" panose="020B0004020202020204" pitchFamily="34" charset="0"/>
              </a:rPr>
              <a:t>Customer </a:t>
            </a:r>
            <a:r>
              <a:rPr lang="de-DE" err="1">
                <a:latin typeface="Aptos Bold" panose="020B0004020202020204" pitchFamily="34" charset="0"/>
              </a:rPr>
              <a:t>benefits</a:t>
            </a:r>
            <a:endParaRPr lang="de-DE">
              <a:latin typeface="Aptos Bold" panose="020B0004020202020204" pitchFamily="34" charset="0"/>
            </a:endParaRPr>
          </a:p>
          <a:p>
            <a:pPr lvl="1"/>
            <a:r>
              <a:rPr lang="en-US"/>
              <a:t>Capture of measured values from residential units</a:t>
            </a:r>
          </a:p>
          <a:p>
            <a:pPr lvl="1"/>
            <a:r>
              <a:rPr lang="en-US"/>
              <a:t>Analysis of values in the cloud</a:t>
            </a:r>
          </a:p>
          <a:p>
            <a:pPr lvl="1"/>
            <a:r>
              <a:rPr lang="en-US"/>
              <a:t>Real-time detection of faults and incorrect settings</a:t>
            </a:r>
          </a:p>
          <a:p>
            <a:pPr lvl="1"/>
            <a:r>
              <a:rPr lang="en-US"/>
              <a:t>Automated rectification</a:t>
            </a:r>
          </a:p>
          <a:p>
            <a:pPr lvl="1"/>
            <a:r>
              <a:rPr lang="en-US"/>
              <a:t>Insight into consumption data</a:t>
            </a:r>
          </a:p>
          <a:p>
            <a:endParaRPr lang="de-DE"/>
          </a:p>
        </p:txBody>
      </p:sp>
      <p:sp>
        <p:nvSpPr>
          <p:cNvPr id="4" name="Fußzeilenplatzhalter 1">
            <a:extLst>
              <a:ext uri="{FF2B5EF4-FFF2-40B4-BE49-F238E27FC236}">
                <a16:creationId xmlns:a16="http://schemas.microsoft.com/office/drawing/2014/main" id="{97E01B8E-8E73-FAF1-4B78-29C4AD7CAA76}"/>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6</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1953195" y="1846116"/>
            <a:ext cx="5256212" cy="459754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L="143510" indent="-143510">
              <a:lnSpc>
                <a:spcPct val="100000"/>
              </a:lnSpc>
              <a:spcAft>
                <a:spcPts val="300"/>
              </a:spcAft>
              <a:buFont typeface="Arial" panose="020B0604020202020204" pitchFamily="34" charset="0"/>
              <a:buChar char="•"/>
            </a:pPr>
            <a:endParaRPr lang="de-DE" sz="1600">
              <a:latin typeface="Calibri Light" panose="020F0302020204030204" pitchFamily="34" charset="0"/>
              <a:cs typeface="Calibri Light" panose="020F0302020204030204" pitchFamily="34" charset="0"/>
            </a:endParaRPr>
          </a:p>
        </p:txBody>
      </p:sp>
      <p:pic>
        <p:nvPicPr>
          <p:cNvPr id="12" name="Grafik 11" descr="Datei:Techem Logo neu.png – Wikipedia">
            <a:extLst>
              <a:ext uri="{FF2B5EF4-FFF2-40B4-BE49-F238E27FC236}">
                <a16:creationId xmlns:a16="http://schemas.microsoft.com/office/drawing/2014/main" id="{2F961FDD-E64C-28E7-B402-743BCD9AED17}"/>
              </a:ext>
            </a:extLst>
          </p:cNvPr>
          <p:cNvPicPr>
            <a:picLocks noChangeAspect="1"/>
          </p:cNvPicPr>
          <p:nvPr/>
        </p:nvPicPr>
        <p:blipFill rotWithShape="1">
          <a:blip r:embed="rId6"/>
          <a:srcRect t="26602" b="32102"/>
          <a:stretch/>
        </p:blipFill>
        <p:spPr>
          <a:xfrm>
            <a:off x="6254750" y="5441058"/>
            <a:ext cx="1909314" cy="788468"/>
          </a:xfrm>
          <a:prstGeom prst="rect">
            <a:avLst/>
          </a:prstGeom>
        </p:spPr>
      </p:pic>
      <p:pic>
        <p:nvPicPr>
          <p:cNvPr id="14" name="Grafik 13" descr="Ein Bild, das Muster, Grafiken, Pixel, Design enthält.&#10;&#10;Automatisch generierte Beschreibung">
            <a:extLst>
              <a:ext uri="{FF2B5EF4-FFF2-40B4-BE49-F238E27FC236}">
                <a16:creationId xmlns:a16="http://schemas.microsoft.com/office/drawing/2014/main" id="{0D1B3919-13E3-E929-19B3-132064A0CFF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295531" y="5544519"/>
            <a:ext cx="603318" cy="603318"/>
          </a:xfrm>
          <a:prstGeom prst="rect">
            <a:avLst/>
          </a:prstGeom>
        </p:spPr>
      </p:pic>
      <p:sp>
        <p:nvSpPr>
          <p:cNvPr id="3" name="Diagonal liegende Ecken des Rechtecks abrunden 2">
            <a:extLst>
              <a:ext uri="{FF2B5EF4-FFF2-40B4-BE49-F238E27FC236}">
                <a16:creationId xmlns:a16="http://schemas.microsoft.com/office/drawing/2014/main" id="{062B7D7B-DE7A-E160-1CCE-3D8ADF0EC0B9}"/>
              </a:ext>
            </a:extLst>
          </p:cNvPr>
          <p:cNvSpPr/>
          <p:nvPr/>
        </p:nvSpPr>
        <p:spPr>
          <a:xfrm>
            <a:off x="6491287" y="1773239"/>
            <a:ext cx="5700713" cy="3553710"/>
          </a:xfrm>
          <a:prstGeom prst="round2DiagRect">
            <a:avLst>
              <a:gd name="adj1" fmla="val 0"/>
              <a:gd name="adj2" fmla="val 4822"/>
            </a:avLst>
          </a:prstGeom>
          <a:blipFill>
            <a:blip r:embed="rId8"/>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412285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B9167-AF3C-9747-0EF8-B3B552AB513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CEF46F1-6103-64ED-4A51-FABB51F4A1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2CEF46F1-6103-64ED-4A51-FABB51F4A1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B96B8F59-0A63-CC86-BAE5-0F9DFF553236}"/>
              </a:ext>
            </a:extLst>
          </p:cNvPr>
          <p:cNvSpPr>
            <a:spLocks noGrp="1"/>
          </p:cNvSpPr>
          <p:nvPr>
            <p:ph type="body" sz="quarter" idx="12"/>
          </p:nvPr>
        </p:nvSpPr>
        <p:spPr/>
        <p:txBody>
          <a:bodyPr/>
          <a:lstStyle/>
          <a:p>
            <a:r>
              <a:rPr lang="de-DE" err="1"/>
              <a:t>Convincing</a:t>
            </a:r>
            <a:r>
              <a:rPr lang="de-DE"/>
              <a:t> </a:t>
            </a:r>
            <a:r>
              <a:rPr lang="de-DE" err="1"/>
              <a:t>success</a:t>
            </a:r>
            <a:r>
              <a:rPr lang="de-DE"/>
              <a:t> </a:t>
            </a:r>
            <a:r>
              <a:rPr lang="de-DE" err="1"/>
              <a:t>stories</a:t>
            </a:r>
            <a:endParaRPr lang="de-DE"/>
          </a:p>
        </p:txBody>
      </p:sp>
      <p:sp>
        <p:nvSpPr>
          <p:cNvPr id="3" name="Titel 2">
            <a:extLst>
              <a:ext uri="{FF2B5EF4-FFF2-40B4-BE49-F238E27FC236}">
                <a16:creationId xmlns:a16="http://schemas.microsoft.com/office/drawing/2014/main" id="{5B525013-0848-93D8-DF81-B6F4F04F3CA7}"/>
              </a:ext>
            </a:extLst>
          </p:cNvPr>
          <p:cNvSpPr>
            <a:spLocks noGrp="1"/>
          </p:cNvSpPr>
          <p:nvPr>
            <p:ph type="title"/>
          </p:nvPr>
        </p:nvSpPr>
        <p:spPr/>
        <p:txBody>
          <a:bodyPr/>
          <a:lstStyle/>
          <a:p>
            <a:r>
              <a:rPr lang="de-DE" dirty="0" err="1"/>
              <a:t>Innovations</a:t>
            </a:r>
            <a:r>
              <a:rPr lang="de-DE" dirty="0"/>
              <a:t> on </a:t>
            </a:r>
            <a:r>
              <a:rPr lang="de-DE" dirty="0" err="1"/>
              <a:t>Cologne's</a:t>
            </a:r>
            <a:r>
              <a:rPr lang="de-DE" dirty="0"/>
              <a:t> </a:t>
            </a:r>
            <a:r>
              <a:rPr lang="de-DE" dirty="0" err="1"/>
              <a:t>roads</a:t>
            </a:r>
            <a:r>
              <a:rPr lang="de-DE" dirty="0"/>
              <a:t>: </a:t>
            </a:r>
            <a:br>
              <a:rPr lang="de-DE" dirty="0"/>
            </a:br>
            <a:r>
              <a:rPr lang="de-DE" dirty="0"/>
              <a:t>Smart Fleet – a </a:t>
            </a:r>
            <a:r>
              <a:rPr lang="de-DE" dirty="0" err="1"/>
              <a:t>pilot</a:t>
            </a:r>
            <a:r>
              <a:rPr lang="de-DE" dirty="0"/>
              <a:t> </a:t>
            </a:r>
            <a:r>
              <a:rPr lang="de-DE" dirty="0" err="1"/>
              <a:t>project</a:t>
            </a:r>
            <a:r>
              <a:rPr lang="de-DE" dirty="0"/>
              <a:t> </a:t>
            </a:r>
            <a:r>
              <a:rPr lang="de-DE" dirty="0" err="1"/>
              <a:t>with</a:t>
            </a:r>
            <a:r>
              <a:rPr lang="de-DE" dirty="0"/>
              <a:t> </a:t>
            </a:r>
            <a:r>
              <a:rPr lang="de-DE" b="1" dirty="0"/>
              <a:t>Abfallwirtschaftsbetriebe Köln</a:t>
            </a:r>
          </a:p>
        </p:txBody>
      </p:sp>
      <p:sp>
        <p:nvSpPr>
          <p:cNvPr id="5" name="Inhaltsplatzhalter 4">
            <a:extLst>
              <a:ext uri="{FF2B5EF4-FFF2-40B4-BE49-F238E27FC236}">
                <a16:creationId xmlns:a16="http://schemas.microsoft.com/office/drawing/2014/main" id="{ACD34691-E80E-4820-1209-F9ACA304FD72}"/>
              </a:ext>
            </a:extLst>
          </p:cNvPr>
          <p:cNvSpPr>
            <a:spLocks noGrp="1"/>
          </p:cNvSpPr>
          <p:nvPr>
            <p:ph idx="1"/>
          </p:nvPr>
        </p:nvSpPr>
        <p:spPr/>
        <p:txBody>
          <a:bodyPr/>
          <a:lstStyle/>
          <a:p>
            <a:r>
              <a:rPr lang="de-DE">
                <a:latin typeface="Aptos Bold" panose="020B0004020202020204" pitchFamily="34" charset="0"/>
              </a:rPr>
              <a:t>Project </a:t>
            </a:r>
            <a:r>
              <a:rPr lang="de-DE" err="1">
                <a:latin typeface="Aptos Bold" panose="020B0004020202020204" pitchFamily="34" charset="0"/>
              </a:rPr>
              <a:t>goals</a:t>
            </a:r>
            <a:endParaRPr lang="de-DE">
              <a:latin typeface="Aptos Bold" panose="020B0004020202020204" pitchFamily="34" charset="0"/>
            </a:endParaRPr>
          </a:p>
          <a:p>
            <a:pPr lvl="1"/>
            <a:r>
              <a:rPr lang="en-US"/>
              <a:t>Digitalization of reported data for road maintenance</a:t>
            </a:r>
          </a:p>
          <a:p>
            <a:pPr lvl="1"/>
            <a:r>
              <a:rPr lang="en-US"/>
              <a:t>Automated detection of road damage</a:t>
            </a:r>
          </a:p>
          <a:p>
            <a:pPr lvl="1"/>
            <a:r>
              <a:rPr lang="en-US"/>
              <a:t>Use of artificial intelligence and machine learning</a:t>
            </a:r>
            <a:br>
              <a:rPr lang="en-US"/>
            </a:br>
            <a:endParaRPr lang="de-DE"/>
          </a:p>
          <a:p>
            <a:r>
              <a:rPr lang="de-DE" b="1">
                <a:latin typeface="Aptos Bold" panose="020B0004020202020204" pitchFamily="34" charset="0"/>
              </a:rPr>
              <a:t>Customer </a:t>
            </a:r>
            <a:r>
              <a:rPr lang="de-DE" b="1" err="1">
                <a:latin typeface="Aptos Bold" panose="020B0004020202020204" pitchFamily="34" charset="0"/>
              </a:rPr>
              <a:t>benefits</a:t>
            </a:r>
            <a:endParaRPr lang="de-DE" b="1">
              <a:latin typeface="Aptos Bold" panose="020B0004020202020204" pitchFamily="34" charset="0"/>
            </a:endParaRPr>
          </a:p>
          <a:p>
            <a:pPr lvl="1"/>
            <a:r>
              <a:rPr lang="en-US"/>
              <a:t>Increase in customer satisfaction</a:t>
            </a:r>
          </a:p>
          <a:p>
            <a:pPr lvl="1"/>
            <a:r>
              <a:rPr lang="en-US"/>
              <a:t>Increased efficiency by eliminating manual tasks</a:t>
            </a:r>
          </a:p>
          <a:p>
            <a:pPr lvl="1"/>
            <a:r>
              <a:rPr lang="en-US"/>
              <a:t>Automation</a:t>
            </a:r>
          </a:p>
        </p:txBody>
      </p:sp>
      <p:sp>
        <p:nvSpPr>
          <p:cNvPr id="6" name="Fußzeilenplatzhalter 1">
            <a:extLst>
              <a:ext uri="{FF2B5EF4-FFF2-40B4-BE49-F238E27FC236}">
                <a16:creationId xmlns:a16="http://schemas.microsoft.com/office/drawing/2014/main" id="{25FD078C-3902-FE31-DC40-2E8B99A4B7C5}"/>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5C149257-6554-552E-1271-55240C4CDA5D}"/>
              </a:ext>
            </a:extLst>
          </p:cNvPr>
          <p:cNvSpPr>
            <a:spLocks noGrp="1"/>
          </p:cNvSpPr>
          <p:nvPr>
            <p:ph type="sldNum" sz="quarter" idx="11"/>
          </p:nvPr>
        </p:nvSpPr>
        <p:spPr/>
        <p:txBody>
          <a:bodyPr anchor="b" anchorCtr="0"/>
          <a:lstStyle/>
          <a:p>
            <a:fld id="{B27B0579-4238-4E44-9A9E-134B676F827C}" type="slidenum">
              <a:rPr lang="de-DE" smtClean="0"/>
              <a:pPr/>
              <a:t>27</a:t>
            </a:fld>
            <a:endParaRPr lang="de-DE"/>
          </a:p>
        </p:txBody>
      </p:sp>
      <p:sp>
        <p:nvSpPr>
          <p:cNvPr id="39" name="Textplatzhalter 14">
            <a:extLst>
              <a:ext uri="{FF2B5EF4-FFF2-40B4-BE49-F238E27FC236}">
                <a16:creationId xmlns:a16="http://schemas.microsoft.com/office/drawing/2014/main" id="{F5468F74-62E3-192A-FA18-1ADF1E182C84}"/>
              </a:ext>
            </a:extLst>
          </p:cNvPr>
          <p:cNvSpPr txBox="1">
            <a:spLocks/>
          </p:cNvSpPr>
          <p:nvPr/>
        </p:nvSpPr>
        <p:spPr>
          <a:xfrm>
            <a:off x="1935473" y="2227132"/>
            <a:ext cx="5256212" cy="459754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endParaRPr lang="de-DE" sz="1600">
              <a:latin typeface="Aptos" panose="020B0004020202020204" pitchFamily="34" charset="0"/>
              <a:cs typeface="Calibri"/>
            </a:endParaRPr>
          </a:p>
        </p:txBody>
      </p:sp>
      <p:pic>
        <p:nvPicPr>
          <p:cNvPr id="2" name="Grafik 1" descr="AWB Abfallwirtschaftsbetriebe Köln GmbH">
            <a:extLst>
              <a:ext uri="{FF2B5EF4-FFF2-40B4-BE49-F238E27FC236}">
                <a16:creationId xmlns:a16="http://schemas.microsoft.com/office/drawing/2014/main" id="{BE6AA373-58ED-E994-3D36-3BCA8D6CFCD6}"/>
              </a:ext>
            </a:extLst>
          </p:cNvPr>
          <p:cNvPicPr>
            <a:picLocks noChangeAspect="1"/>
          </p:cNvPicPr>
          <p:nvPr/>
        </p:nvPicPr>
        <p:blipFill>
          <a:blip r:embed="rId6"/>
          <a:stretch>
            <a:fillRect/>
          </a:stretch>
        </p:blipFill>
        <p:spPr>
          <a:xfrm>
            <a:off x="6486063" y="5683195"/>
            <a:ext cx="1411244" cy="420236"/>
          </a:xfrm>
          <a:prstGeom prst="rect">
            <a:avLst/>
          </a:prstGeom>
        </p:spPr>
      </p:pic>
      <p:pic>
        <p:nvPicPr>
          <p:cNvPr id="8" name="Grafik 7">
            <a:extLst>
              <a:ext uri="{FF2B5EF4-FFF2-40B4-BE49-F238E27FC236}">
                <a16:creationId xmlns:a16="http://schemas.microsoft.com/office/drawing/2014/main" id="{A61C82F6-393C-4C4D-1651-E7F66039B906}"/>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11304872" y="5547524"/>
            <a:ext cx="603318" cy="603318"/>
          </a:xfrm>
          <a:prstGeom prst="rect">
            <a:avLst/>
          </a:prstGeom>
        </p:spPr>
      </p:pic>
      <p:sp>
        <p:nvSpPr>
          <p:cNvPr id="4" name="Diagonal liegende Ecken des Rechtecks abrunden 3">
            <a:extLst>
              <a:ext uri="{FF2B5EF4-FFF2-40B4-BE49-F238E27FC236}">
                <a16:creationId xmlns:a16="http://schemas.microsoft.com/office/drawing/2014/main" id="{954F9903-76B7-7D41-8DA7-C8455117B1DC}"/>
              </a:ext>
            </a:extLst>
          </p:cNvPr>
          <p:cNvSpPr/>
          <p:nvPr/>
        </p:nvSpPr>
        <p:spPr>
          <a:xfrm>
            <a:off x="6491287" y="1778647"/>
            <a:ext cx="5700713" cy="3553710"/>
          </a:xfrm>
          <a:prstGeom prst="round2DiagRect">
            <a:avLst>
              <a:gd name="adj1" fmla="val 0"/>
              <a:gd name="adj2" fmla="val 4822"/>
            </a:avLst>
          </a:prstGeom>
          <a:blipFill>
            <a:blip r:embed="rId8"/>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206594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981CFFA9-4E81-FA0A-486D-518AE88441E6}"/>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0" y="-5708"/>
            <a:ext cx="12192000" cy="6863708"/>
          </a:xfrm>
          <a:prstGeom prst="rect">
            <a:avLst/>
          </a:prstGeom>
        </p:spPr>
      </p:pic>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5" name="Rechteck 4">
            <a:extLst>
              <a:ext uri="{FF2B5EF4-FFF2-40B4-BE49-F238E27FC236}">
                <a16:creationId xmlns:a16="http://schemas.microsoft.com/office/drawing/2014/main" id="{D1B6C24B-A8C3-AC9E-3872-8AE9DCCD65B7}"/>
              </a:ext>
            </a:extLst>
          </p:cNvPr>
          <p:cNvSpPr/>
          <p:nvPr/>
        </p:nvSpPr>
        <p:spPr>
          <a:xfrm rot="10800000">
            <a:off x="-17419" y="0"/>
            <a:ext cx="12192000" cy="3374571"/>
          </a:xfrm>
          <a:prstGeom prst="rect">
            <a:avLst/>
          </a:prstGeom>
          <a:gradFill flip="none" rotWithShape="1">
            <a:gsLst>
              <a:gs pos="0">
                <a:schemeClr val="tx1">
                  <a:alpha val="23442"/>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Fußzeilenplatzhalter 1">
            <a:extLst>
              <a:ext uri="{FF2B5EF4-FFF2-40B4-BE49-F238E27FC236}">
                <a16:creationId xmlns:a16="http://schemas.microsoft.com/office/drawing/2014/main" id="{D5D7D4F5-82F5-8C8D-CBD6-CD71622F7A52}"/>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28</a:t>
            </a:fld>
            <a:endParaRPr lang="de-DE">
              <a:solidFill>
                <a:schemeClr val="bg1"/>
              </a:solidFill>
            </a:endParaRPr>
          </a:p>
        </p:txBody>
      </p:sp>
      <p:sp>
        <p:nvSpPr>
          <p:cNvPr id="14" name="Diagonal liegende Ecken des Rechtecks abrunden 13">
            <a:extLst>
              <a:ext uri="{FF2B5EF4-FFF2-40B4-BE49-F238E27FC236}">
                <a16:creationId xmlns:a16="http://schemas.microsoft.com/office/drawing/2014/main" id="{874D8D50-03DB-AD63-8B46-FB0FCDCCDCD9}"/>
              </a:ext>
            </a:extLst>
          </p:cNvPr>
          <p:cNvSpPr/>
          <p:nvPr/>
        </p:nvSpPr>
        <p:spPr>
          <a:xfrm flipV="1">
            <a:off x="623888" y="4149052"/>
            <a:ext cx="7690246"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5" name="Titel 1">
            <a:extLst>
              <a:ext uri="{FF2B5EF4-FFF2-40B4-BE49-F238E27FC236}">
                <a16:creationId xmlns:a16="http://schemas.microsoft.com/office/drawing/2014/main" id="{ECEFB3EF-5340-A710-83FC-FCD5D7B0AF05}"/>
              </a:ext>
            </a:extLst>
          </p:cNvPr>
          <p:cNvSpPr txBox="1">
            <a:spLocks/>
          </p:cNvSpPr>
          <p:nvPr/>
        </p:nvSpPr>
        <p:spPr>
          <a:xfrm>
            <a:off x="1239311" y="4884057"/>
            <a:ext cx="7065374"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err="1">
                <a:solidFill>
                  <a:schemeClr val="tx1"/>
                </a:solidFill>
                <a:latin typeface="+mn-lt"/>
              </a:rPr>
              <a:t>Our</a:t>
            </a:r>
            <a:r>
              <a:rPr lang="de-DE" sz="4300">
                <a:solidFill>
                  <a:schemeClr val="tx1"/>
                </a:solidFill>
                <a:latin typeface="+mn-lt"/>
              </a:rPr>
              <a:t> </a:t>
            </a:r>
            <a:r>
              <a:rPr lang="de-DE" sz="4300" err="1">
                <a:solidFill>
                  <a:schemeClr val="tx1"/>
                </a:solidFill>
                <a:latin typeface="+mn-lt"/>
              </a:rPr>
              <a:t>strengths</a:t>
            </a:r>
            <a:r>
              <a:rPr lang="de-DE" sz="4300">
                <a:solidFill>
                  <a:schemeClr val="tx1"/>
                </a:solidFill>
                <a:latin typeface="+mn-lt"/>
              </a:rPr>
              <a:t>, </a:t>
            </a:r>
            <a:r>
              <a:rPr lang="de-DE" sz="4300" err="1">
                <a:solidFill>
                  <a:schemeClr val="tx1"/>
                </a:solidFill>
                <a:latin typeface="+mn-lt"/>
              </a:rPr>
              <a:t>your</a:t>
            </a:r>
            <a:r>
              <a:rPr lang="de-DE" sz="4300">
                <a:solidFill>
                  <a:schemeClr val="tx1"/>
                </a:solidFill>
                <a:latin typeface="+mn-lt"/>
              </a:rPr>
              <a:t> </a:t>
            </a:r>
            <a:r>
              <a:rPr lang="de-DE" sz="4300" err="1">
                <a:solidFill>
                  <a:schemeClr val="tx1"/>
                </a:solidFill>
                <a:latin typeface="+mn-lt"/>
              </a:rPr>
              <a:t>benefits</a:t>
            </a:r>
            <a:endParaRPr lang="de-DE" sz="4300">
              <a:solidFill>
                <a:schemeClr val="tx1"/>
              </a:solidFill>
              <a:latin typeface="+mn-lt"/>
            </a:endParaRPr>
          </a:p>
        </p:txBody>
      </p:sp>
      <p:sp>
        <p:nvSpPr>
          <p:cNvPr id="16" name="Untertitel 2">
            <a:extLst>
              <a:ext uri="{FF2B5EF4-FFF2-40B4-BE49-F238E27FC236}">
                <a16:creationId xmlns:a16="http://schemas.microsoft.com/office/drawing/2014/main" id="{2215A506-5AEF-8C21-1BD7-5AB0B7C43CC0}"/>
              </a:ext>
            </a:extLst>
          </p:cNvPr>
          <p:cNvSpPr txBox="1">
            <a:spLocks/>
          </p:cNvSpPr>
          <p:nvPr/>
        </p:nvSpPr>
        <p:spPr>
          <a:xfrm>
            <a:off x="1266180" y="4492697"/>
            <a:ext cx="706537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Value </a:t>
            </a:r>
            <a:r>
              <a:rPr kumimoji="0" lang="de-DE" sz="1600" u="none" strike="noStrike" kern="1200" cap="none" spc="0" normalizeH="0" baseline="0" noProof="0" err="1">
                <a:ln>
                  <a:noFill/>
                </a:ln>
                <a:effectLst/>
                <a:uLnTx/>
                <a:uFillTx/>
                <a:cs typeface="Calibri Light"/>
              </a:rPr>
              <a:t>proposition</a:t>
            </a:r>
            <a:endParaRPr kumimoji="0" lang="de-DE" sz="1600" u="none" strike="noStrike" kern="1200" cap="none" spc="0" normalizeH="0" baseline="0" noProof="0">
              <a:ln>
                <a:noFill/>
              </a:ln>
              <a:effectLst/>
              <a:uLnTx/>
              <a:uFillTx/>
              <a:cs typeface="Calibri Light"/>
            </a:endParaRPr>
          </a:p>
        </p:txBody>
      </p:sp>
      <p:sp>
        <p:nvSpPr>
          <p:cNvPr id="17" name="Ellipse 13">
            <a:extLst>
              <a:ext uri="{FF2B5EF4-FFF2-40B4-BE49-F238E27FC236}">
                <a16:creationId xmlns:a16="http://schemas.microsoft.com/office/drawing/2014/main" id="{CFD8A534-0637-653C-B53A-4008B7496B64}"/>
              </a:ext>
            </a:extLst>
          </p:cNvPr>
          <p:cNvSpPr/>
          <p:nvPr/>
        </p:nvSpPr>
        <p:spPr>
          <a:xfrm>
            <a:off x="790713" y="4463503"/>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4</a:t>
            </a:r>
          </a:p>
        </p:txBody>
      </p:sp>
      <p:pic>
        <p:nvPicPr>
          <p:cNvPr id="6" name="Grafik 5">
            <a:extLst>
              <a:ext uri="{FF2B5EF4-FFF2-40B4-BE49-F238E27FC236}">
                <a16:creationId xmlns:a16="http://schemas.microsoft.com/office/drawing/2014/main" id="{3A9D3107-A7E0-95E9-AEE2-85EC7D98B47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9460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platzhalter 21">
            <a:extLst>
              <a:ext uri="{FF2B5EF4-FFF2-40B4-BE49-F238E27FC236}">
                <a16:creationId xmlns:a16="http://schemas.microsoft.com/office/drawing/2014/main" id="{FDF276A4-27BE-7F92-9EB3-887375C3BC26}"/>
              </a:ext>
            </a:extLst>
          </p:cNvPr>
          <p:cNvSpPr>
            <a:spLocks noGrp="1"/>
          </p:cNvSpPr>
          <p:nvPr>
            <p:ph type="body" sz="quarter" idx="12"/>
          </p:nvPr>
        </p:nvSpPr>
        <p:spPr>
          <a:xfrm>
            <a:off x="623888" y="296863"/>
            <a:ext cx="9488833" cy="169277"/>
          </a:xfrm>
        </p:spPr>
        <p:txBody>
          <a:bodyPr/>
          <a:lstStyle/>
          <a:p>
            <a:r>
              <a:rPr lang="de-DE" err="1"/>
              <a:t>Our</a:t>
            </a:r>
            <a:r>
              <a:rPr lang="de-DE"/>
              <a:t> </a:t>
            </a:r>
            <a:r>
              <a:rPr lang="de-DE" err="1"/>
              <a:t>strengths</a:t>
            </a:r>
            <a:r>
              <a:rPr lang="de-DE"/>
              <a:t>, </a:t>
            </a:r>
            <a:r>
              <a:rPr lang="de-DE" err="1"/>
              <a:t>your</a:t>
            </a:r>
            <a:r>
              <a:rPr lang="de-DE"/>
              <a:t> </a:t>
            </a:r>
            <a:r>
              <a:rPr lang="de-DE" err="1"/>
              <a:t>benefits</a:t>
            </a:r>
            <a:endParaRPr lang="de-DE"/>
          </a:p>
        </p:txBody>
      </p:sp>
      <p:sp>
        <p:nvSpPr>
          <p:cNvPr id="17" name="Titel 16">
            <a:extLst>
              <a:ext uri="{FF2B5EF4-FFF2-40B4-BE49-F238E27FC236}">
                <a16:creationId xmlns:a16="http://schemas.microsoft.com/office/drawing/2014/main" id="{BBB37F78-CAD0-D430-8B65-32FF33699290}"/>
              </a:ext>
            </a:extLst>
          </p:cNvPr>
          <p:cNvSpPr>
            <a:spLocks noGrp="1"/>
          </p:cNvSpPr>
          <p:nvPr>
            <p:ph type="title"/>
          </p:nvPr>
        </p:nvSpPr>
        <p:spPr>
          <a:xfrm>
            <a:off x="623888" y="620713"/>
            <a:ext cx="9488833" cy="738664"/>
          </a:xfrm>
        </p:spPr>
        <p:txBody>
          <a:bodyPr/>
          <a:lstStyle/>
          <a:p>
            <a:r>
              <a:rPr lang="en-US" b="1" dirty="0"/>
              <a:t>Sustainable customer relationships </a:t>
            </a:r>
            <a:r>
              <a:rPr lang="en-US" dirty="0"/>
              <a:t>are a measure of our success</a:t>
            </a:r>
          </a:p>
        </p:txBody>
      </p:sp>
      <p:sp>
        <p:nvSpPr>
          <p:cNvPr id="2" name="Fußzeilenplatzhalter 1">
            <a:extLst>
              <a:ext uri="{FF2B5EF4-FFF2-40B4-BE49-F238E27FC236}">
                <a16:creationId xmlns:a16="http://schemas.microsoft.com/office/drawing/2014/main" id="{AC3B4E27-227B-C63D-F9E9-6BCD8464EBCA}"/>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dirty="0" smtClean="0"/>
              <a:pPr/>
              <a:t>29</a:t>
            </a:fld>
            <a:endParaRPr lang="de-DE"/>
          </a:p>
        </p:txBody>
      </p:sp>
      <p:sp>
        <p:nvSpPr>
          <p:cNvPr id="7" name="Textplatzhalter 14">
            <a:extLst>
              <a:ext uri="{FF2B5EF4-FFF2-40B4-BE49-F238E27FC236}">
                <a16:creationId xmlns:a16="http://schemas.microsoft.com/office/drawing/2014/main" id="{1D2E43BA-16DA-2A6C-9F17-E83819B18B32}"/>
              </a:ext>
            </a:extLst>
          </p:cNvPr>
          <p:cNvSpPr txBox="1">
            <a:spLocks/>
          </p:cNvSpPr>
          <p:nvPr/>
        </p:nvSpPr>
        <p:spPr>
          <a:xfrm>
            <a:off x="6537994" y="3940249"/>
            <a:ext cx="5355935" cy="1795647"/>
          </a:xfrm>
          <a:prstGeom prst="rect">
            <a:avLst/>
          </a:prstGeom>
        </p:spPr>
        <p:txBody>
          <a:bodyPr wrap="square" lIns="0" tIns="0" rIns="0" bIns="0" numCol="4" spcCol="180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buClr>
                <a:srgbClr val="A01441"/>
              </a:buClr>
              <a:defRPr/>
            </a:pPr>
            <a:r>
              <a:rPr lang="de-DE" sz="1300" err="1">
                <a:cs typeface="Calibri Light"/>
              </a:rPr>
              <a:t>Achmea</a:t>
            </a:r>
            <a:endParaRPr lang="de-DE" sz="1300">
              <a:cs typeface="Calibri Light"/>
            </a:endParaRPr>
          </a:p>
          <a:p>
            <a:pPr>
              <a:lnSpc>
                <a:spcPct val="100000"/>
              </a:lnSpc>
              <a:spcAft>
                <a:spcPts val="300"/>
              </a:spcAft>
              <a:buClr>
                <a:srgbClr val="A01441"/>
              </a:buClr>
              <a:defRPr/>
            </a:pPr>
            <a:r>
              <a:rPr lang="en-GB" sz="1300">
                <a:cs typeface="Calibri Light"/>
              </a:rPr>
              <a:t>ADAC</a:t>
            </a:r>
          </a:p>
          <a:p>
            <a:pPr>
              <a:lnSpc>
                <a:spcPct val="100000"/>
              </a:lnSpc>
              <a:spcAft>
                <a:spcPts val="300"/>
              </a:spcAft>
              <a:buClr>
                <a:srgbClr val="A01441"/>
              </a:buClr>
              <a:defRPr/>
            </a:pPr>
            <a:r>
              <a:rPr lang="en-GB" sz="1300">
                <a:cs typeface="Calibri Light"/>
              </a:rPr>
              <a:t>Canada Life</a:t>
            </a:r>
            <a:endParaRPr lang="de-DE" sz="1300">
              <a:cs typeface="Calibri Light"/>
            </a:endParaRPr>
          </a:p>
          <a:p>
            <a:pPr>
              <a:lnSpc>
                <a:spcPct val="100000"/>
              </a:lnSpc>
              <a:spcAft>
                <a:spcPts val="300"/>
              </a:spcAft>
              <a:buClr>
                <a:srgbClr val="A01441"/>
              </a:buClr>
              <a:defRPr/>
            </a:pPr>
            <a:r>
              <a:rPr lang="en-GB" sz="1300">
                <a:cs typeface="Calibri Light"/>
              </a:rPr>
              <a:t>AIG</a:t>
            </a:r>
            <a:endParaRPr lang="de-DE" sz="1300">
              <a:cs typeface="Calibri Light"/>
            </a:endParaRPr>
          </a:p>
          <a:p>
            <a:pPr>
              <a:lnSpc>
                <a:spcPct val="100000"/>
              </a:lnSpc>
              <a:spcAft>
                <a:spcPts val="300"/>
              </a:spcAft>
              <a:buClr>
                <a:srgbClr val="A01441"/>
              </a:buClr>
              <a:defRPr/>
            </a:pPr>
            <a:r>
              <a:rPr lang="en-GB" sz="1300">
                <a:cs typeface="Calibri Light"/>
              </a:rPr>
              <a:t>Allianz</a:t>
            </a:r>
            <a:endParaRPr lang="de-DE" sz="1300">
              <a:cs typeface="Calibri Light"/>
            </a:endParaRPr>
          </a:p>
          <a:p>
            <a:pPr>
              <a:lnSpc>
                <a:spcPct val="100000"/>
              </a:lnSpc>
              <a:spcAft>
                <a:spcPts val="300"/>
              </a:spcAft>
              <a:buClr>
                <a:srgbClr val="A01441"/>
              </a:buClr>
              <a:defRPr/>
            </a:pPr>
            <a:r>
              <a:rPr lang="en-GB" sz="1300">
                <a:cs typeface="Calibri Light"/>
              </a:rPr>
              <a:t>AOK Systems</a:t>
            </a:r>
            <a:endParaRPr lang="de-DE" sz="1300">
              <a:cs typeface="Calibri Light"/>
            </a:endParaRPr>
          </a:p>
          <a:p>
            <a:pPr>
              <a:lnSpc>
                <a:spcPct val="100000"/>
              </a:lnSpc>
              <a:spcAft>
                <a:spcPts val="300"/>
              </a:spcAft>
              <a:buClr>
                <a:srgbClr val="A01441"/>
              </a:buClr>
              <a:defRPr/>
            </a:pPr>
            <a:r>
              <a:rPr lang="en-GB" sz="1300">
                <a:cs typeface="Calibri Light"/>
              </a:rPr>
              <a:t>AXA</a:t>
            </a:r>
            <a:endParaRPr lang="de-DE"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r>
              <a:rPr lang="en-GB" sz="1300">
                <a:cs typeface="Calibri Light"/>
              </a:rPr>
              <a:t>Concordia</a:t>
            </a:r>
            <a:endParaRPr lang="de-DE" sz="1300">
              <a:cs typeface="Calibri Light"/>
            </a:endParaRPr>
          </a:p>
          <a:p>
            <a:pPr>
              <a:lnSpc>
                <a:spcPct val="100000"/>
              </a:lnSpc>
              <a:spcAft>
                <a:spcPts val="300"/>
              </a:spcAft>
              <a:buClr>
                <a:srgbClr val="A01441"/>
              </a:buClr>
              <a:defRPr/>
            </a:pPr>
            <a:r>
              <a:rPr lang="en-GB" sz="1300">
                <a:cs typeface="Calibri Light"/>
              </a:rPr>
              <a:t>DEVK</a:t>
            </a:r>
            <a:endParaRPr lang="de-DE" sz="1300">
              <a:cs typeface="Calibri Light"/>
            </a:endParaRPr>
          </a:p>
          <a:p>
            <a:pPr>
              <a:lnSpc>
                <a:spcPct val="100000"/>
              </a:lnSpc>
              <a:spcAft>
                <a:spcPts val="300"/>
              </a:spcAft>
              <a:buClr>
                <a:srgbClr val="A01441"/>
              </a:buClr>
              <a:defRPr/>
            </a:pPr>
            <a:r>
              <a:rPr lang="en-GB" sz="1300">
                <a:cs typeface="Calibri Light"/>
              </a:rPr>
              <a:t>ERGO</a:t>
            </a:r>
            <a:endParaRPr lang="de-DE" sz="1300">
              <a:cs typeface="Calibri Light"/>
            </a:endParaRPr>
          </a:p>
          <a:p>
            <a:pPr>
              <a:lnSpc>
                <a:spcPct val="100000"/>
              </a:lnSpc>
              <a:spcAft>
                <a:spcPts val="300"/>
              </a:spcAft>
              <a:buClr>
                <a:srgbClr val="A01441"/>
              </a:buClr>
              <a:defRPr/>
            </a:pPr>
            <a:r>
              <a:rPr lang="en-GB" sz="1300">
                <a:cs typeface="Calibri Light"/>
              </a:rPr>
              <a:t>Gen Re</a:t>
            </a:r>
            <a:endParaRPr lang="de-DE" sz="1300">
              <a:cs typeface="Calibri Light"/>
            </a:endParaRPr>
          </a:p>
          <a:p>
            <a:pPr>
              <a:lnSpc>
                <a:spcPct val="100000"/>
              </a:lnSpc>
              <a:spcAft>
                <a:spcPts val="300"/>
              </a:spcAft>
              <a:buClr>
                <a:srgbClr val="A01441"/>
              </a:buClr>
              <a:defRPr/>
            </a:pPr>
            <a:r>
              <a:rPr lang="en-GB" sz="1300">
                <a:cs typeface="Calibri Light"/>
              </a:rPr>
              <a:t>Generali</a:t>
            </a:r>
            <a:endParaRPr lang="de-DE" sz="1300">
              <a:cs typeface="Calibri Light"/>
            </a:endParaRPr>
          </a:p>
          <a:p>
            <a:pPr>
              <a:lnSpc>
                <a:spcPct val="100000"/>
              </a:lnSpc>
              <a:spcAft>
                <a:spcPts val="300"/>
              </a:spcAft>
              <a:buClr>
                <a:srgbClr val="A01441"/>
              </a:buClr>
              <a:defRPr/>
            </a:pPr>
            <a:r>
              <a:rPr lang="en-GB" sz="1300" err="1">
                <a:cs typeface="Calibri Light"/>
              </a:rPr>
              <a:t>Gothaer</a:t>
            </a:r>
            <a:endParaRPr lang="de-DE" sz="1300">
              <a:cs typeface="Calibri Light"/>
            </a:endParaRPr>
          </a:p>
          <a:p>
            <a:pPr>
              <a:lnSpc>
                <a:spcPct val="100000"/>
              </a:lnSpc>
              <a:spcAft>
                <a:spcPts val="300"/>
              </a:spcAft>
              <a:buClr>
                <a:srgbClr val="A01441"/>
              </a:buClr>
              <a:defRPr/>
            </a:pPr>
            <a:r>
              <a:rPr lang="en-GB" sz="1300">
                <a:cs typeface="Calibri Light"/>
              </a:rPr>
              <a:t>HUK-COBURG</a:t>
            </a: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endParaRPr lang="en-GB" sz="1300">
              <a:cs typeface="Calibri Light"/>
            </a:endParaRPr>
          </a:p>
          <a:p>
            <a:pPr>
              <a:lnSpc>
                <a:spcPct val="100000"/>
              </a:lnSpc>
              <a:spcAft>
                <a:spcPts val="300"/>
              </a:spcAft>
              <a:buClr>
                <a:srgbClr val="A01441"/>
              </a:buClr>
              <a:defRPr/>
            </a:pPr>
            <a:r>
              <a:rPr lang="en-GB" sz="1300">
                <a:cs typeface="Calibri Light"/>
              </a:rPr>
              <a:t>MSIG</a:t>
            </a:r>
            <a:endParaRPr lang="de-DE" sz="1300">
              <a:cs typeface="Calibri Light"/>
            </a:endParaRPr>
          </a:p>
          <a:p>
            <a:pPr>
              <a:lnSpc>
                <a:spcPct val="100000"/>
              </a:lnSpc>
              <a:spcAft>
                <a:spcPts val="300"/>
              </a:spcAft>
              <a:buClr>
                <a:srgbClr val="A01441"/>
              </a:buClr>
              <a:defRPr/>
            </a:pPr>
            <a:r>
              <a:rPr lang="en-GB" sz="1300">
                <a:cs typeface="Calibri Light"/>
              </a:rPr>
              <a:t>Munich Re</a:t>
            </a:r>
            <a:endParaRPr lang="de-DE" sz="1300">
              <a:cs typeface="Calibri Light"/>
            </a:endParaRPr>
          </a:p>
          <a:p>
            <a:pPr>
              <a:lnSpc>
                <a:spcPct val="100000"/>
              </a:lnSpc>
              <a:spcAft>
                <a:spcPts val="300"/>
              </a:spcAft>
              <a:buClr>
                <a:srgbClr val="A01441"/>
              </a:buClr>
              <a:defRPr/>
            </a:pPr>
            <a:r>
              <a:rPr lang="en-GB" sz="1300">
                <a:cs typeface="Calibri Light"/>
              </a:rPr>
              <a:t>Pacific Life Re</a:t>
            </a:r>
          </a:p>
          <a:p>
            <a:pPr>
              <a:lnSpc>
                <a:spcPct val="100000"/>
              </a:lnSpc>
              <a:spcAft>
                <a:spcPts val="300"/>
              </a:spcAft>
              <a:buClr>
                <a:srgbClr val="A01441"/>
              </a:buClr>
              <a:defRPr/>
            </a:pPr>
            <a:r>
              <a:rPr lang="en-GB" sz="1300" err="1">
                <a:cs typeface="Calibri Light"/>
              </a:rPr>
              <a:t>Provinzial</a:t>
            </a:r>
            <a:endParaRPr lang="de-DE" sz="1300">
              <a:cs typeface="Calibri Light"/>
            </a:endParaRPr>
          </a:p>
          <a:p>
            <a:pPr>
              <a:lnSpc>
                <a:spcPct val="100000"/>
              </a:lnSpc>
              <a:spcAft>
                <a:spcPts val="300"/>
              </a:spcAft>
              <a:buClr>
                <a:srgbClr val="A01441"/>
              </a:buClr>
              <a:defRPr/>
            </a:pPr>
            <a:r>
              <a:rPr lang="en-GB" sz="1300">
                <a:cs typeface="Calibri Light"/>
              </a:rPr>
              <a:t>R+V</a:t>
            </a:r>
            <a:endParaRPr lang="de-DE" sz="1300">
              <a:cs typeface="Calibri Light"/>
            </a:endParaRPr>
          </a:p>
          <a:p>
            <a:pPr>
              <a:lnSpc>
                <a:spcPct val="100000"/>
              </a:lnSpc>
              <a:spcAft>
                <a:spcPts val="300"/>
              </a:spcAft>
              <a:buClr>
                <a:srgbClr val="A01441"/>
              </a:buClr>
              <a:defRPr/>
            </a:pPr>
            <a:r>
              <a:rPr lang="en-GB" sz="1300">
                <a:cs typeface="Calibri Light"/>
              </a:rPr>
              <a:t>Swiss Re</a:t>
            </a:r>
            <a:endParaRPr lang="de-DE" sz="1300">
              <a:cs typeface="Calibri Light"/>
            </a:endParaRPr>
          </a:p>
          <a:p>
            <a:pPr>
              <a:lnSpc>
                <a:spcPct val="100000"/>
              </a:lnSpc>
              <a:spcAft>
                <a:spcPts val="300"/>
              </a:spcAft>
              <a:buClr>
                <a:srgbClr val="A01441"/>
              </a:buClr>
              <a:defRPr/>
            </a:pPr>
            <a:r>
              <a:rPr lang="en-GB" sz="1300">
                <a:cs typeface="Calibri Light"/>
              </a:rPr>
              <a:t>Tokio Marine</a:t>
            </a:r>
            <a:endParaRPr lang="de-DE" sz="1300">
              <a:cs typeface="Calibri Light"/>
            </a:endParaRPr>
          </a:p>
          <a:p>
            <a:pPr>
              <a:lnSpc>
                <a:spcPct val="100000"/>
              </a:lnSpc>
              <a:spcAft>
                <a:spcPts val="300"/>
              </a:spcAft>
              <a:buClr>
                <a:srgbClr val="A01441"/>
              </a:buClr>
              <a:defRPr/>
            </a:pPr>
            <a:endParaRPr lang="de-DE" sz="1300">
              <a:cs typeface="Calibri Light"/>
            </a:endParaRPr>
          </a:p>
          <a:p>
            <a:pPr>
              <a:lnSpc>
                <a:spcPct val="100000"/>
              </a:lnSpc>
              <a:spcAft>
                <a:spcPts val="300"/>
              </a:spcAft>
              <a:buClr>
                <a:srgbClr val="A01441"/>
              </a:buClr>
              <a:defRPr/>
            </a:pPr>
            <a:endParaRPr lang="de-DE" sz="1300">
              <a:cs typeface="Calibri Light"/>
            </a:endParaRPr>
          </a:p>
          <a:p>
            <a:pPr>
              <a:lnSpc>
                <a:spcPct val="100000"/>
              </a:lnSpc>
              <a:spcAft>
                <a:spcPts val="300"/>
              </a:spcAft>
              <a:buClr>
                <a:srgbClr val="A01441"/>
              </a:buClr>
              <a:defRPr/>
            </a:pPr>
            <a:endParaRPr lang="de-DE" sz="1300">
              <a:cs typeface="Calibri Light"/>
            </a:endParaRPr>
          </a:p>
          <a:p>
            <a:pPr>
              <a:lnSpc>
                <a:spcPct val="100000"/>
              </a:lnSpc>
              <a:spcAft>
                <a:spcPts val="300"/>
              </a:spcAft>
              <a:buClr>
                <a:srgbClr val="A01441"/>
              </a:buClr>
              <a:defRPr/>
            </a:pPr>
            <a:endParaRPr lang="de-DE" sz="1300">
              <a:cs typeface="Calibri Light"/>
            </a:endParaRPr>
          </a:p>
          <a:p>
            <a:pPr>
              <a:lnSpc>
                <a:spcPct val="100000"/>
              </a:lnSpc>
              <a:spcAft>
                <a:spcPts val="300"/>
              </a:spcAft>
              <a:buClr>
                <a:srgbClr val="A01441"/>
              </a:buClr>
              <a:defRPr/>
            </a:pPr>
            <a:r>
              <a:rPr lang="de-DE" sz="1300">
                <a:cs typeface="Calibri Light"/>
              </a:rPr>
              <a:t>UNIQA</a:t>
            </a:r>
          </a:p>
          <a:p>
            <a:pPr>
              <a:lnSpc>
                <a:spcPct val="95000"/>
              </a:lnSpc>
              <a:spcAft>
                <a:spcPts val="300"/>
              </a:spcAft>
              <a:buClr>
                <a:srgbClr val="A01441"/>
              </a:buClr>
              <a:defRPr/>
            </a:pPr>
            <a:r>
              <a:rPr lang="de-DE" sz="1300">
                <a:cs typeface="Calibri Light"/>
              </a:rPr>
              <a:t>Versicherungs-kammer Bayern</a:t>
            </a:r>
          </a:p>
          <a:p>
            <a:pPr>
              <a:lnSpc>
                <a:spcPct val="100000"/>
              </a:lnSpc>
              <a:spcBef>
                <a:spcPts val="500"/>
              </a:spcBef>
              <a:spcAft>
                <a:spcPts val="300"/>
              </a:spcAft>
              <a:buClr>
                <a:srgbClr val="A01441"/>
              </a:buClr>
              <a:defRPr/>
            </a:pPr>
            <a:r>
              <a:rPr lang="de-DE" sz="1300">
                <a:cs typeface="Calibri Light"/>
              </a:rPr>
              <a:t>VIG</a:t>
            </a:r>
          </a:p>
          <a:p>
            <a:pPr>
              <a:lnSpc>
                <a:spcPct val="100000"/>
              </a:lnSpc>
              <a:spcAft>
                <a:spcPts val="300"/>
              </a:spcAft>
              <a:buClr>
                <a:srgbClr val="A01441"/>
              </a:buClr>
              <a:defRPr/>
            </a:pPr>
            <a:r>
              <a:rPr lang="de-DE" sz="1300" err="1">
                <a:cs typeface="Calibri Light"/>
              </a:rPr>
              <a:t>Viridium</a:t>
            </a:r>
            <a:endParaRPr lang="de-DE" sz="1300">
              <a:cs typeface="Calibri Light"/>
            </a:endParaRPr>
          </a:p>
          <a:p>
            <a:pPr>
              <a:lnSpc>
                <a:spcPct val="95000"/>
              </a:lnSpc>
              <a:spcAft>
                <a:spcPts val="300"/>
              </a:spcAft>
              <a:buClr>
                <a:srgbClr val="A01441"/>
              </a:buClr>
              <a:defRPr/>
            </a:pPr>
            <a:r>
              <a:rPr lang="de-DE" sz="1300">
                <a:cs typeface="Calibri Light"/>
              </a:rPr>
              <a:t>Zuger</a:t>
            </a:r>
            <a:br>
              <a:rPr lang="de-DE" sz="1300">
                <a:cs typeface="Calibri Light"/>
              </a:rPr>
            </a:br>
            <a:r>
              <a:rPr lang="de-DE" sz="1300">
                <a:cs typeface="Calibri Light"/>
              </a:rPr>
              <a:t>Kantonalbank</a:t>
            </a:r>
          </a:p>
          <a:p>
            <a:pPr>
              <a:lnSpc>
                <a:spcPct val="100000"/>
              </a:lnSpc>
              <a:spcBef>
                <a:spcPts val="300"/>
              </a:spcBef>
              <a:spcAft>
                <a:spcPts val="300"/>
              </a:spcAft>
              <a:buClr>
                <a:srgbClr val="A01441"/>
              </a:buClr>
              <a:defRPr/>
            </a:pPr>
            <a:r>
              <a:rPr lang="de-DE" sz="1300" err="1">
                <a:cs typeface="Calibri Light"/>
              </a:rPr>
              <a:t>Zurich</a:t>
            </a:r>
            <a:endParaRPr lang="de-DE" sz="1300">
              <a:cs typeface="Calibri Light"/>
            </a:endParaRPr>
          </a:p>
          <a:p>
            <a:pPr>
              <a:lnSpc>
                <a:spcPct val="100000"/>
              </a:lnSpc>
              <a:spcAft>
                <a:spcPts val="300"/>
              </a:spcAft>
              <a:defRPr/>
            </a:pPr>
            <a:endParaRPr lang="de-DE" sz="1300">
              <a:cs typeface="Calibri Light"/>
            </a:endParaRPr>
          </a:p>
          <a:p>
            <a:pPr>
              <a:lnSpc>
                <a:spcPct val="100000"/>
              </a:lnSpc>
              <a:spcAft>
                <a:spcPts val="300"/>
              </a:spcAft>
              <a:defRPr/>
            </a:pPr>
            <a:endParaRPr lang="de-DE" sz="1300">
              <a:cs typeface="Calibri Light"/>
            </a:endParaRPr>
          </a:p>
          <a:p>
            <a:pPr>
              <a:lnSpc>
                <a:spcPct val="100000"/>
              </a:lnSpc>
              <a:spcAft>
                <a:spcPts val="300"/>
              </a:spcAft>
              <a:defRPr/>
            </a:pPr>
            <a:endParaRPr lang="de-DE" sz="1300">
              <a:cs typeface="Calibri Light" panose="020F0302020204030204" pitchFamily="34" charset="0"/>
            </a:endParaRPr>
          </a:p>
        </p:txBody>
      </p:sp>
      <p:cxnSp>
        <p:nvCxnSpPr>
          <p:cNvPr id="8" name="Gerade Verbindung 12">
            <a:extLst>
              <a:ext uri="{FF2B5EF4-FFF2-40B4-BE49-F238E27FC236}">
                <a16:creationId xmlns:a16="http://schemas.microsoft.com/office/drawing/2014/main" id="{1CAD2231-9A79-1346-546A-ADD33C89FC48}"/>
              </a:ext>
            </a:extLst>
          </p:cNvPr>
          <p:cNvCxnSpPr>
            <a:cxnSpLocks/>
          </p:cNvCxnSpPr>
          <p:nvPr/>
        </p:nvCxnSpPr>
        <p:spPr>
          <a:xfrm>
            <a:off x="623888" y="2203773"/>
            <a:ext cx="0" cy="90909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Gerade Verbindung 18">
            <a:extLst>
              <a:ext uri="{FF2B5EF4-FFF2-40B4-BE49-F238E27FC236}">
                <a16:creationId xmlns:a16="http://schemas.microsoft.com/office/drawing/2014/main" id="{4F6E0350-54F6-A041-E470-8F889120030A}"/>
              </a:ext>
            </a:extLst>
          </p:cNvPr>
          <p:cNvCxnSpPr>
            <a:cxnSpLocks/>
          </p:cNvCxnSpPr>
          <p:nvPr/>
        </p:nvCxnSpPr>
        <p:spPr>
          <a:xfrm>
            <a:off x="9468505" y="2203773"/>
            <a:ext cx="0" cy="90564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E3469A8D-E956-DE20-D371-2517A90B2ADB}"/>
              </a:ext>
            </a:extLst>
          </p:cNvPr>
          <p:cNvSpPr txBox="1"/>
          <p:nvPr/>
        </p:nvSpPr>
        <p:spPr>
          <a:xfrm>
            <a:off x="633413" y="1752416"/>
            <a:ext cx="2330244" cy="276999"/>
          </a:xfrm>
          <a:prstGeom prst="rect">
            <a:avLst/>
          </a:prstGeom>
        </p:spPr>
        <p:txBody>
          <a:bodyPr vert="horz" wrap="square" lIns="0" tIns="0" rIns="0" bIns="0" rtlCol="0">
            <a:spAutoFit/>
          </a:bodyPr>
          <a:lstStyle/>
          <a:p>
            <a:pPr algn="l"/>
            <a:r>
              <a:rPr lang="de-DE"/>
              <a:t>Automotive</a:t>
            </a:r>
          </a:p>
        </p:txBody>
      </p:sp>
      <p:sp>
        <p:nvSpPr>
          <p:cNvPr id="12" name="Textfeld 11">
            <a:extLst>
              <a:ext uri="{FF2B5EF4-FFF2-40B4-BE49-F238E27FC236}">
                <a16:creationId xmlns:a16="http://schemas.microsoft.com/office/drawing/2014/main" id="{64F2BA45-C6DF-BF50-9CEE-D2051189A2E8}"/>
              </a:ext>
            </a:extLst>
          </p:cNvPr>
          <p:cNvSpPr txBox="1"/>
          <p:nvPr/>
        </p:nvSpPr>
        <p:spPr>
          <a:xfrm>
            <a:off x="9469464" y="1752416"/>
            <a:ext cx="2330244" cy="276999"/>
          </a:xfrm>
          <a:prstGeom prst="rect">
            <a:avLst/>
          </a:prstGeom>
        </p:spPr>
        <p:txBody>
          <a:bodyPr vert="horz" wrap="square" lIns="0" tIns="0" rIns="0" bIns="0" rtlCol="0">
            <a:spAutoFit/>
          </a:bodyPr>
          <a:lstStyle/>
          <a:p>
            <a:pPr algn="l"/>
            <a:r>
              <a:rPr lang="de-DE"/>
              <a:t>Public</a:t>
            </a:r>
          </a:p>
        </p:txBody>
      </p:sp>
      <p:sp>
        <p:nvSpPr>
          <p:cNvPr id="13" name="Textfeld 12">
            <a:extLst>
              <a:ext uri="{FF2B5EF4-FFF2-40B4-BE49-F238E27FC236}">
                <a16:creationId xmlns:a16="http://schemas.microsoft.com/office/drawing/2014/main" id="{49A69394-F0F4-7519-5C8E-4479CBF2BA40}"/>
              </a:ext>
            </a:extLst>
          </p:cNvPr>
          <p:cNvSpPr txBox="1"/>
          <p:nvPr/>
        </p:nvSpPr>
        <p:spPr>
          <a:xfrm>
            <a:off x="623888" y="3467029"/>
            <a:ext cx="2330244" cy="276999"/>
          </a:xfrm>
          <a:prstGeom prst="rect">
            <a:avLst/>
          </a:prstGeom>
        </p:spPr>
        <p:txBody>
          <a:bodyPr vert="horz" wrap="square" lIns="0" tIns="0" rIns="0" bIns="0" rtlCol="0">
            <a:spAutoFit/>
          </a:bodyPr>
          <a:lstStyle/>
          <a:p>
            <a:pPr algn="l"/>
            <a:r>
              <a:rPr lang="de-DE"/>
              <a:t>Industry</a:t>
            </a:r>
          </a:p>
        </p:txBody>
      </p:sp>
      <p:sp>
        <p:nvSpPr>
          <p:cNvPr id="15" name="Textfeld 14">
            <a:extLst>
              <a:ext uri="{FF2B5EF4-FFF2-40B4-BE49-F238E27FC236}">
                <a16:creationId xmlns:a16="http://schemas.microsoft.com/office/drawing/2014/main" id="{684B935B-2997-A1D4-9A90-ED37CA9A65CB}"/>
              </a:ext>
            </a:extLst>
          </p:cNvPr>
          <p:cNvSpPr txBox="1"/>
          <p:nvPr/>
        </p:nvSpPr>
        <p:spPr>
          <a:xfrm>
            <a:off x="3548367" y="1752416"/>
            <a:ext cx="2330244" cy="276999"/>
          </a:xfrm>
          <a:prstGeom prst="rect">
            <a:avLst/>
          </a:prstGeom>
        </p:spPr>
        <p:txBody>
          <a:bodyPr vert="horz" wrap="square" lIns="0" tIns="0" rIns="0" bIns="0" rtlCol="0">
            <a:spAutoFit/>
          </a:bodyPr>
          <a:lstStyle/>
          <a:p>
            <a:pPr algn="l"/>
            <a:r>
              <a:rPr lang="de-DE"/>
              <a:t>Banking</a:t>
            </a:r>
          </a:p>
        </p:txBody>
      </p:sp>
      <p:sp>
        <p:nvSpPr>
          <p:cNvPr id="16" name="Textfeld 15">
            <a:extLst>
              <a:ext uri="{FF2B5EF4-FFF2-40B4-BE49-F238E27FC236}">
                <a16:creationId xmlns:a16="http://schemas.microsoft.com/office/drawing/2014/main" id="{A1AE1681-304C-CA9F-C882-7CAEF09A6421}"/>
              </a:ext>
            </a:extLst>
          </p:cNvPr>
          <p:cNvSpPr txBox="1"/>
          <p:nvPr/>
        </p:nvSpPr>
        <p:spPr>
          <a:xfrm>
            <a:off x="6439282" y="3467029"/>
            <a:ext cx="2330244" cy="276999"/>
          </a:xfrm>
          <a:prstGeom prst="rect">
            <a:avLst/>
          </a:prstGeom>
        </p:spPr>
        <p:txBody>
          <a:bodyPr vert="horz" wrap="square" lIns="0" tIns="0" rIns="0" bIns="0" rtlCol="0">
            <a:spAutoFit/>
          </a:bodyPr>
          <a:lstStyle/>
          <a:p>
            <a:pPr algn="l"/>
            <a:r>
              <a:rPr lang="de-DE"/>
              <a:t>Insurance</a:t>
            </a:r>
          </a:p>
        </p:txBody>
      </p:sp>
      <p:cxnSp>
        <p:nvCxnSpPr>
          <p:cNvPr id="18" name="Gerade Verbindung 12">
            <a:extLst>
              <a:ext uri="{FF2B5EF4-FFF2-40B4-BE49-F238E27FC236}">
                <a16:creationId xmlns:a16="http://schemas.microsoft.com/office/drawing/2014/main" id="{6FFD5841-692F-0DD7-00A3-BC3C9B27E14E}"/>
              </a:ext>
            </a:extLst>
          </p:cNvPr>
          <p:cNvCxnSpPr>
            <a:cxnSpLocks/>
          </p:cNvCxnSpPr>
          <p:nvPr/>
        </p:nvCxnSpPr>
        <p:spPr>
          <a:xfrm>
            <a:off x="6439282" y="3955889"/>
            <a:ext cx="0" cy="178000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893A08E8-A723-9760-A906-909C08756574}"/>
              </a:ext>
            </a:extLst>
          </p:cNvPr>
          <p:cNvCxnSpPr>
            <a:cxnSpLocks/>
          </p:cNvCxnSpPr>
          <p:nvPr/>
        </p:nvCxnSpPr>
        <p:spPr>
          <a:xfrm>
            <a:off x="623888" y="3955889"/>
            <a:ext cx="0" cy="16459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Gerade Verbindung 18">
            <a:extLst>
              <a:ext uri="{FF2B5EF4-FFF2-40B4-BE49-F238E27FC236}">
                <a16:creationId xmlns:a16="http://schemas.microsoft.com/office/drawing/2014/main" id="{67113BF3-449E-AA55-C05E-33B9A31D6404}"/>
              </a:ext>
            </a:extLst>
          </p:cNvPr>
          <p:cNvCxnSpPr>
            <a:cxnSpLocks/>
          </p:cNvCxnSpPr>
          <p:nvPr/>
        </p:nvCxnSpPr>
        <p:spPr>
          <a:xfrm>
            <a:off x="3572094" y="2203773"/>
            <a:ext cx="0" cy="90293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6" name="Textplatzhalter 14">
            <a:extLst>
              <a:ext uri="{FF2B5EF4-FFF2-40B4-BE49-F238E27FC236}">
                <a16:creationId xmlns:a16="http://schemas.microsoft.com/office/drawing/2014/main" id="{12B5BDA8-13AE-9FFC-0639-0FA1A8BE4266}"/>
              </a:ext>
            </a:extLst>
          </p:cNvPr>
          <p:cNvSpPr txBox="1">
            <a:spLocks/>
          </p:cNvSpPr>
          <p:nvPr/>
        </p:nvSpPr>
        <p:spPr>
          <a:xfrm>
            <a:off x="3680224" y="2203773"/>
            <a:ext cx="2195513" cy="1104148"/>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Sparkassen-Finanzgruppe</a:t>
            </a:r>
          </a:p>
          <a:p>
            <a:pPr marR="0" lvl="0" algn="l" defTabSz="914400" rtl="0" eaLnBrk="1" fontAlgn="auto" latinLnBrk="0" hangingPunct="1">
              <a:lnSpc>
                <a:spcPct val="95000"/>
              </a:lnSpc>
              <a:spcBef>
                <a:spcPts val="0"/>
              </a:spcBef>
              <a:spcAft>
                <a:spcPts val="300"/>
              </a:spcAft>
              <a:buClr>
                <a:srgbClr val="A01441"/>
              </a:buClr>
              <a:buSzTx/>
              <a:tabLst/>
              <a:defRPr/>
            </a:pPr>
            <a:r>
              <a:rPr lang="de-DE" sz="1300" err="1">
                <a:cs typeface="Calibri Light"/>
              </a:rPr>
              <a:t>Atruvia</a:t>
            </a:r>
            <a:endParaRPr lang="de-DE" sz="1300">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ayern LB</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KfW</a:t>
            </a:r>
            <a:endParaRPr kumimoji="0"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endParaRPr lang="de-DE" sz="1300" u="none" strike="noStrike" kern="1200" cap="none" spc="0" normalizeH="0" baseline="0" noProof="0">
              <a:ln>
                <a:noFill/>
              </a:ln>
              <a:effectLst/>
              <a:uLnTx/>
              <a:uFillTx/>
              <a:cs typeface="Calibri Light"/>
            </a:endParaRPr>
          </a:p>
        </p:txBody>
      </p:sp>
      <p:sp>
        <p:nvSpPr>
          <p:cNvPr id="37" name="Textplatzhalter 14">
            <a:extLst>
              <a:ext uri="{FF2B5EF4-FFF2-40B4-BE49-F238E27FC236}">
                <a16:creationId xmlns:a16="http://schemas.microsoft.com/office/drawing/2014/main" id="{0A4231A3-D264-64CC-0B26-54B440E0C235}"/>
              </a:ext>
            </a:extLst>
          </p:cNvPr>
          <p:cNvSpPr txBox="1">
            <a:spLocks/>
          </p:cNvSpPr>
          <p:nvPr/>
        </p:nvSpPr>
        <p:spPr>
          <a:xfrm>
            <a:off x="727992"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MW</a:t>
            </a:r>
            <a:endParaRPr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VW</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Audi</a:t>
            </a:r>
          </a:p>
          <a:p>
            <a:pPr marR="0" lvl="0" algn="l" defTabSz="914400" rtl="0" eaLnBrk="1" fontAlgn="auto" latinLnBrk="0" hangingPunct="1">
              <a:lnSpc>
                <a:spcPct val="95000"/>
              </a:lnSpc>
              <a:spcBef>
                <a:spcPts val="0"/>
              </a:spcBef>
              <a:spcAft>
                <a:spcPts val="300"/>
              </a:spcAft>
              <a:buClr>
                <a:srgbClr val="A01441"/>
              </a:buClr>
              <a:buSzTx/>
              <a:tabLst/>
              <a:defRPr/>
            </a:pPr>
            <a:r>
              <a:rPr lang="de-DE" sz="1300" u="none" strike="noStrike" kern="1200" cap="none" spc="0" normalizeH="0" baseline="0" noProof="0">
                <a:ln>
                  <a:noFill/>
                </a:ln>
                <a:effectLst/>
                <a:uLnTx/>
                <a:uFillTx/>
                <a:cs typeface="Calibri Light"/>
              </a:rPr>
              <a:t>Daimler</a:t>
            </a:r>
          </a:p>
        </p:txBody>
      </p:sp>
      <p:sp>
        <p:nvSpPr>
          <p:cNvPr id="38" name="Textplatzhalter 14">
            <a:extLst>
              <a:ext uri="{FF2B5EF4-FFF2-40B4-BE49-F238E27FC236}">
                <a16:creationId xmlns:a16="http://schemas.microsoft.com/office/drawing/2014/main" id="{F85FAB0B-325D-DF46-B810-102E2D53A3AD}"/>
              </a:ext>
            </a:extLst>
          </p:cNvPr>
          <p:cNvSpPr txBox="1">
            <a:spLocks/>
          </p:cNvSpPr>
          <p:nvPr/>
        </p:nvSpPr>
        <p:spPr>
          <a:xfrm>
            <a:off x="718072" y="3941617"/>
            <a:ext cx="5274000" cy="1631216"/>
          </a:xfrm>
          <a:prstGeom prst="rect">
            <a:avLst/>
          </a:prstGeom>
        </p:spPr>
        <p:txBody>
          <a:bodyPr wrap="square" lIns="0" tIns="0" rIns="0" bIns="0" numCol="4" spcCol="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buClr>
                <a:srgbClr val="A01441"/>
              </a:buClr>
              <a:defRPr/>
            </a:pPr>
            <a:r>
              <a:rPr lang="en-GB" sz="1300" err="1">
                <a:cs typeface="Calibri Light"/>
              </a:rPr>
              <a:t>Brötje</a:t>
            </a:r>
            <a:endParaRPr lang="de-DE" sz="1300">
              <a:cs typeface="Calibri Light"/>
            </a:endParaRPr>
          </a:p>
          <a:p>
            <a:pPr>
              <a:lnSpc>
                <a:spcPct val="100000"/>
              </a:lnSpc>
              <a:spcAft>
                <a:spcPts val="300"/>
              </a:spcAft>
              <a:buClr>
                <a:srgbClr val="A01441"/>
              </a:buClr>
              <a:defRPr/>
            </a:pPr>
            <a:r>
              <a:rPr lang="en-GB" sz="1300">
                <a:cs typeface="Calibri Light"/>
              </a:rPr>
              <a:t>BSH</a:t>
            </a:r>
            <a:endParaRPr lang="de-DE" sz="1300">
              <a:cs typeface="Calibri Light"/>
            </a:endParaRPr>
          </a:p>
          <a:p>
            <a:pPr>
              <a:lnSpc>
                <a:spcPct val="100000"/>
              </a:lnSpc>
              <a:spcAft>
                <a:spcPts val="300"/>
              </a:spcAft>
              <a:buClr>
                <a:srgbClr val="A01441"/>
              </a:buClr>
              <a:defRPr/>
            </a:pPr>
            <a:r>
              <a:rPr lang="en-GB" sz="1300">
                <a:cs typeface="Calibri Light"/>
              </a:rPr>
              <a:t>CVS</a:t>
            </a:r>
            <a:endParaRPr lang="de-DE" sz="1300">
              <a:cs typeface="Calibri Light"/>
            </a:endParaRPr>
          </a:p>
          <a:p>
            <a:pPr>
              <a:lnSpc>
                <a:spcPct val="100000"/>
              </a:lnSpc>
              <a:spcAft>
                <a:spcPts val="300"/>
              </a:spcAft>
              <a:buClr>
                <a:srgbClr val="A01441"/>
              </a:buClr>
              <a:defRPr/>
            </a:pPr>
            <a:r>
              <a:rPr lang="en-GB" sz="1300">
                <a:cs typeface="Calibri Light"/>
              </a:rPr>
              <a:t>Delivery Hero</a:t>
            </a:r>
            <a:endParaRPr lang="de-DE" sz="1300">
              <a:cs typeface="Calibri Light"/>
            </a:endParaRPr>
          </a:p>
          <a:p>
            <a:pPr>
              <a:lnSpc>
                <a:spcPct val="100000"/>
              </a:lnSpc>
              <a:spcAft>
                <a:spcPts val="300"/>
              </a:spcAft>
              <a:buClr>
                <a:srgbClr val="A01441"/>
              </a:buClr>
              <a:defRPr/>
            </a:pPr>
            <a:r>
              <a:rPr lang="en-GB" sz="1300">
                <a:cs typeface="Calibri Light"/>
              </a:rPr>
              <a:t>Dell </a:t>
            </a:r>
            <a:endParaRPr lang="de-DE" sz="1300">
              <a:cs typeface="Calibri Light"/>
            </a:endParaRPr>
          </a:p>
          <a:p>
            <a:pPr>
              <a:lnSpc>
                <a:spcPct val="100000"/>
              </a:lnSpc>
              <a:spcAft>
                <a:spcPts val="300"/>
              </a:spcAft>
              <a:buClr>
                <a:srgbClr val="A01441"/>
              </a:buClr>
              <a:defRPr/>
            </a:pPr>
            <a:r>
              <a:rPr lang="de-DE" sz="1300">
                <a:cs typeface="Calibri Light"/>
              </a:rPr>
              <a:t>Deutsche Bahn</a:t>
            </a:r>
          </a:p>
          <a:p>
            <a:pPr>
              <a:lnSpc>
                <a:spcPct val="100000"/>
              </a:lnSpc>
              <a:spcAft>
                <a:spcPts val="300"/>
              </a:spcAft>
              <a:buClr>
                <a:srgbClr val="A01441"/>
              </a:buClr>
              <a:defRPr/>
            </a:pPr>
            <a:r>
              <a:rPr lang="de-DE" sz="1300">
                <a:cs typeface="Calibri Light"/>
              </a:rPr>
              <a:t>Deutsche Post</a:t>
            </a:r>
          </a:p>
          <a:p>
            <a:pPr>
              <a:lnSpc>
                <a:spcPct val="90000"/>
              </a:lnSpc>
              <a:spcAft>
                <a:spcPts val="300"/>
              </a:spcAft>
              <a:buClr>
                <a:srgbClr val="A01441"/>
              </a:buClr>
              <a:defRPr/>
            </a:pPr>
            <a:r>
              <a:rPr lang="de-DE" sz="1300">
                <a:cs typeface="Calibri Light"/>
              </a:rPr>
              <a:t>Deutsches</a:t>
            </a:r>
            <a:br>
              <a:rPr lang="de-DE" sz="1300">
                <a:cs typeface="Calibri Light"/>
              </a:rPr>
            </a:br>
            <a:r>
              <a:rPr lang="de-DE" sz="1300">
                <a:cs typeface="Calibri Light"/>
              </a:rPr>
              <a:t>Milchkontor</a:t>
            </a:r>
          </a:p>
          <a:p>
            <a:pPr>
              <a:lnSpc>
                <a:spcPct val="100000"/>
              </a:lnSpc>
              <a:spcBef>
                <a:spcPts val="600"/>
              </a:spcBef>
              <a:spcAft>
                <a:spcPts val="300"/>
              </a:spcAft>
              <a:buClr>
                <a:srgbClr val="A01441"/>
              </a:buClr>
              <a:defRPr/>
            </a:pPr>
            <a:r>
              <a:rPr lang="de-DE" sz="1300">
                <a:cs typeface="Calibri Light"/>
              </a:rPr>
              <a:t>Emmi</a:t>
            </a:r>
          </a:p>
          <a:p>
            <a:pPr>
              <a:lnSpc>
                <a:spcPct val="100000"/>
              </a:lnSpc>
              <a:spcAft>
                <a:spcPts val="300"/>
              </a:spcAft>
              <a:buClr>
                <a:srgbClr val="A01441"/>
              </a:buClr>
              <a:defRPr/>
            </a:pPr>
            <a:r>
              <a:rPr lang="de-DE" sz="1300">
                <a:cs typeface="Calibri Light"/>
              </a:rPr>
              <a:t>EnBW</a:t>
            </a:r>
          </a:p>
          <a:p>
            <a:pPr>
              <a:lnSpc>
                <a:spcPct val="100000"/>
              </a:lnSpc>
              <a:spcAft>
                <a:spcPts val="300"/>
              </a:spcAft>
              <a:buClr>
                <a:srgbClr val="A01441"/>
              </a:buClr>
              <a:defRPr/>
            </a:pPr>
            <a:r>
              <a:rPr lang="de-DE" sz="1300">
                <a:cs typeface="Calibri Light"/>
              </a:rPr>
              <a:t>Franz Kiel</a:t>
            </a:r>
          </a:p>
          <a:p>
            <a:pPr>
              <a:lnSpc>
                <a:spcPct val="100000"/>
              </a:lnSpc>
              <a:spcAft>
                <a:spcPts val="300"/>
              </a:spcAft>
              <a:buClr>
                <a:srgbClr val="A01441"/>
              </a:buClr>
              <a:defRPr/>
            </a:pPr>
            <a:r>
              <a:rPr lang="de-DE" sz="1300">
                <a:cs typeface="Calibri Light"/>
              </a:rPr>
              <a:t>Google</a:t>
            </a:r>
          </a:p>
          <a:p>
            <a:pPr>
              <a:lnSpc>
                <a:spcPct val="100000"/>
              </a:lnSpc>
              <a:spcAft>
                <a:spcPts val="300"/>
              </a:spcAft>
              <a:buClr>
                <a:srgbClr val="A01441"/>
              </a:buClr>
              <a:defRPr/>
            </a:pPr>
            <a:r>
              <a:rPr lang="de-DE" sz="1300">
                <a:cs typeface="Calibri Light"/>
              </a:rPr>
              <a:t>Magna</a:t>
            </a:r>
          </a:p>
          <a:p>
            <a:pPr>
              <a:lnSpc>
                <a:spcPct val="100000"/>
              </a:lnSpc>
              <a:spcAft>
                <a:spcPts val="300"/>
              </a:spcAft>
              <a:buClr>
                <a:srgbClr val="A01441"/>
              </a:buClr>
              <a:defRPr/>
            </a:pPr>
            <a:r>
              <a:rPr lang="de-DE" sz="1300">
                <a:cs typeface="Calibri Light"/>
              </a:rPr>
              <a:t>Miele</a:t>
            </a:r>
          </a:p>
          <a:p>
            <a:pPr>
              <a:lnSpc>
                <a:spcPct val="100000"/>
              </a:lnSpc>
              <a:spcAft>
                <a:spcPts val="300"/>
              </a:spcAft>
              <a:buClr>
                <a:srgbClr val="A01441"/>
              </a:buClr>
              <a:defRPr/>
            </a:pPr>
            <a:r>
              <a:rPr lang="en-GB" sz="1300">
                <a:cs typeface="Calibri Light"/>
              </a:rPr>
              <a:t>Red Bull</a:t>
            </a:r>
            <a:endParaRPr lang="de-DE" sz="1300">
              <a:cs typeface="Calibri Light"/>
            </a:endParaRPr>
          </a:p>
          <a:p>
            <a:pPr>
              <a:lnSpc>
                <a:spcPct val="100000"/>
              </a:lnSpc>
              <a:spcAft>
                <a:spcPts val="300"/>
              </a:spcAft>
              <a:buClr>
                <a:srgbClr val="A01441"/>
              </a:buClr>
              <a:defRPr/>
            </a:pPr>
            <a:r>
              <a:rPr lang="en-GB" sz="1300">
                <a:cs typeface="Calibri Light"/>
              </a:rPr>
              <a:t>Roche</a:t>
            </a:r>
          </a:p>
          <a:p>
            <a:pPr>
              <a:lnSpc>
                <a:spcPct val="100000"/>
              </a:lnSpc>
              <a:spcAft>
                <a:spcPts val="300"/>
              </a:spcAft>
              <a:buClr>
                <a:srgbClr val="A01441"/>
              </a:buClr>
              <a:defRPr/>
            </a:pPr>
            <a:r>
              <a:rPr lang="en-GB" sz="1300">
                <a:cs typeface="Calibri Light"/>
              </a:rPr>
              <a:t>RWE</a:t>
            </a:r>
            <a:endParaRPr lang="de-DE" sz="1300">
              <a:cs typeface="Calibri Light"/>
            </a:endParaRPr>
          </a:p>
          <a:p>
            <a:pPr>
              <a:lnSpc>
                <a:spcPct val="100000"/>
              </a:lnSpc>
              <a:spcAft>
                <a:spcPts val="300"/>
              </a:spcAft>
              <a:buClr>
                <a:srgbClr val="A01441"/>
              </a:buClr>
              <a:defRPr/>
            </a:pPr>
            <a:r>
              <a:rPr lang="en-GB" sz="1300">
                <a:cs typeface="Calibri Light"/>
              </a:rPr>
              <a:t>Samsung</a:t>
            </a:r>
            <a:endParaRPr lang="de-DE" sz="1300">
              <a:cs typeface="Calibri Light"/>
            </a:endParaRPr>
          </a:p>
          <a:p>
            <a:pPr>
              <a:lnSpc>
                <a:spcPct val="100000"/>
              </a:lnSpc>
              <a:spcAft>
                <a:spcPts val="300"/>
              </a:spcAft>
              <a:buClr>
                <a:srgbClr val="A01441"/>
              </a:buClr>
              <a:defRPr/>
            </a:pPr>
            <a:r>
              <a:rPr lang="en-GB" sz="1300">
                <a:cs typeface="Calibri Light"/>
              </a:rPr>
              <a:t>SAP</a:t>
            </a:r>
            <a:endParaRPr lang="de-DE" sz="1300">
              <a:cs typeface="Calibri Light"/>
            </a:endParaRPr>
          </a:p>
          <a:p>
            <a:pPr>
              <a:lnSpc>
                <a:spcPct val="100000"/>
              </a:lnSpc>
              <a:spcAft>
                <a:spcPts val="300"/>
              </a:spcAft>
              <a:buClr>
                <a:srgbClr val="A01441"/>
              </a:buClr>
              <a:defRPr/>
            </a:pPr>
            <a:r>
              <a:rPr lang="en-GB" sz="1300">
                <a:cs typeface="Calibri Light"/>
              </a:rPr>
              <a:t>Saputo</a:t>
            </a:r>
            <a:endParaRPr lang="de-DE" sz="1300">
              <a:cs typeface="Calibri Light"/>
            </a:endParaRPr>
          </a:p>
          <a:p>
            <a:pPr>
              <a:lnSpc>
                <a:spcPct val="100000"/>
              </a:lnSpc>
              <a:spcAft>
                <a:spcPts val="300"/>
              </a:spcAft>
              <a:buClr>
                <a:srgbClr val="A01441"/>
              </a:buClr>
              <a:defRPr/>
            </a:pPr>
            <a:r>
              <a:rPr lang="en-GB" sz="1300">
                <a:cs typeface="Calibri Light"/>
              </a:rPr>
              <a:t>Telefónica</a:t>
            </a:r>
            <a:endParaRPr lang="de-DE" sz="1300">
              <a:cs typeface="Calibri Light"/>
            </a:endParaRPr>
          </a:p>
          <a:p>
            <a:pPr>
              <a:lnSpc>
                <a:spcPct val="100000"/>
              </a:lnSpc>
              <a:spcAft>
                <a:spcPts val="300"/>
              </a:spcAft>
              <a:buClr>
                <a:srgbClr val="A01441"/>
              </a:buClr>
              <a:defRPr/>
            </a:pPr>
            <a:r>
              <a:rPr lang="en-GB" sz="1300">
                <a:cs typeface="Calibri Light"/>
              </a:rPr>
              <a:t>Toll Collect</a:t>
            </a:r>
            <a:endParaRPr lang="de-DE" sz="1300">
              <a:cs typeface="Calibri Light"/>
            </a:endParaRPr>
          </a:p>
          <a:p>
            <a:pPr>
              <a:lnSpc>
                <a:spcPct val="100000"/>
              </a:lnSpc>
              <a:spcAft>
                <a:spcPts val="300"/>
              </a:spcAft>
              <a:buClr>
                <a:srgbClr val="A01441"/>
              </a:buClr>
              <a:defRPr/>
            </a:pPr>
            <a:r>
              <a:rPr lang="en-GB" sz="1300">
                <a:cs typeface="Calibri Light"/>
              </a:rPr>
              <a:t>Tyson Food</a:t>
            </a:r>
            <a:endParaRPr lang="de-DE" sz="1300">
              <a:cs typeface="Calibri Light"/>
            </a:endParaRPr>
          </a:p>
          <a:p>
            <a:pPr>
              <a:lnSpc>
                <a:spcPct val="100000"/>
              </a:lnSpc>
              <a:spcAft>
                <a:spcPts val="300"/>
              </a:spcAft>
              <a:buClr>
                <a:srgbClr val="A01441"/>
              </a:buClr>
              <a:defRPr/>
            </a:pPr>
            <a:r>
              <a:rPr lang="en-GB" sz="1300">
                <a:cs typeface="Calibri Light"/>
              </a:rPr>
              <a:t>Verizon</a:t>
            </a:r>
            <a:endParaRPr lang="de-DE" sz="1300">
              <a:cs typeface="Calibri Light"/>
            </a:endParaRPr>
          </a:p>
          <a:p>
            <a:pPr>
              <a:lnSpc>
                <a:spcPct val="100000"/>
              </a:lnSpc>
              <a:spcAft>
                <a:spcPts val="300"/>
              </a:spcAft>
              <a:buClr>
                <a:srgbClr val="A01441"/>
              </a:buClr>
              <a:defRPr/>
            </a:pPr>
            <a:r>
              <a:rPr lang="en-GB" sz="1300">
                <a:cs typeface="Calibri Light"/>
              </a:rPr>
              <a:t>Vodafone</a:t>
            </a:r>
            <a:endParaRPr lang="de-DE" sz="1300">
              <a:cs typeface="Calibri Light"/>
            </a:endParaRPr>
          </a:p>
          <a:p>
            <a:pPr>
              <a:lnSpc>
                <a:spcPct val="100000"/>
              </a:lnSpc>
              <a:spcAft>
                <a:spcPts val="300"/>
              </a:spcAft>
              <a:buClr>
                <a:srgbClr val="A01441"/>
              </a:buClr>
              <a:defRPr/>
            </a:pPr>
            <a:r>
              <a:rPr lang="en-GB" sz="1300">
                <a:cs typeface="Calibri Light"/>
              </a:rPr>
              <a:t>Zalando</a:t>
            </a:r>
            <a:endParaRPr lang="de-DE" sz="1300">
              <a:cs typeface="Calibri Light"/>
            </a:endParaRPr>
          </a:p>
          <a:p>
            <a:pPr>
              <a:lnSpc>
                <a:spcPct val="100000"/>
              </a:lnSpc>
              <a:spcAft>
                <a:spcPts val="300"/>
              </a:spcAft>
              <a:buClr>
                <a:srgbClr val="A01441"/>
              </a:buClr>
              <a:defRPr/>
            </a:pPr>
            <a:endParaRPr lang="de-DE" sz="1300">
              <a:cs typeface="Calibri Light"/>
            </a:endParaRPr>
          </a:p>
        </p:txBody>
      </p:sp>
      <p:sp>
        <p:nvSpPr>
          <p:cNvPr id="39" name="Textplatzhalter 14">
            <a:extLst>
              <a:ext uri="{FF2B5EF4-FFF2-40B4-BE49-F238E27FC236}">
                <a16:creationId xmlns:a16="http://schemas.microsoft.com/office/drawing/2014/main" id="{953C56A0-4C1E-945B-7658-E13F9B113F2D}"/>
              </a:ext>
            </a:extLst>
          </p:cNvPr>
          <p:cNvSpPr txBox="1">
            <a:spLocks/>
          </p:cNvSpPr>
          <p:nvPr/>
        </p:nvSpPr>
        <p:spPr>
          <a:xfrm>
            <a:off x="9580469"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undesministerium des Innern</a:t>
            </a:r>
            <a:endParaRPr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Stadtwerke München</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ITZ Bund</a:t>
            </a:r>
          </a:p>
          <a:p>
            <a:pPr marR="0" lvl="0" algn="l" defTabSz="914400" rtl="0" eaLnBrk="1" fontAlgn="auto" latinLnBrk="0" hangingPunct="1">
              <a:lnSpc>
                <a:spcPct val="95000"/>
              </a:lnSpc>
              <a:spcBef>
                <a:spcPts val="0"/>
              </a:spcBef>
              <a:spcAft>
                <a:spcPts val="300"/>
              </a:spcAft>
              <a:buClr>
                <a:srgbClr val="A01441"/>
              </a:buClr>
              <a:buSzTx/>
              <a:tabLst/>
              <a:defRPr/>
            </a:pPr>
            <a:r>
              <a:rPr lang="de-DE" sz="1300" u="none" strike="noStrike" kern="1200" cap="none" spc="0" normalizeH="0" baseline="0" noProof="0">
                <a:ln>
                  <a:noFill/>
                </a:ln>
                <a:effectLst/>
                <a:uLnTx/>
                <a:uFillTx/>
                <a:cs typeface="Calibri Light"/>
              </a:rPr>
              <a:t>Bundesverwaltungsamt</a:t>
            </a:r>
          </a:p>
        </p:txBody>
      </p:sp>
      <p:cxnSp>
        <p:nvCxnSpPr>
          <p:cNvPr id="40" name="Gerade Verbindung 18">
            <a:extLst>
              <a:ext uri="{FF2B5EF4-FFF2-40B4-BE49-F238E27FC236}">
                <a16:creationId xmlns:a16="http://schemas.microsoft.com/office/drawing/2014/main" id="{924A35C6-BFCC-F1DE-01AB-8B65E1D52209}"/>
              </a:ext>
            </a:extLst>
          </p:cNvPr>
          <p:cNvCxnSpPr>
            <a:cxnSpLocks/>
          </p:cNvCxnSpPr>
          <p:nvPr/>
        </p:nvCxnSpPr>
        <p:spPr>
          <a:xfrm>
            <a:off x="6520300" y="2203773"/>
            <a:ext cx="0" cy="90564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B7AFAE79-6CFA-A546-3410-18203C943B17}"/>
              </a:ext>
            </a:extLst>
          </p:cNvPr>
          <p:cNvSpPr txBox="1"/>
          <p:nvPr/>
        </p:nvSpPr>
        <p:spPr>
          <a:xfrm>
            <a:off x="6520299" y="1752416"/>
            <a:ext cx="2330244" cy="276999"/>
          </a:xfrm>
          <a:prstGeom prst="rect">
            <a:avLst/>
          </a:prstGeom>
        </p:spPr>
        <p:txBody>
          <a:bodyPr vert="horz" wrap="square" lIns="0" tIns="0" rIns="0" bIns="0" rtlCol="0">
            <a:spAutoFit/>
          </a:bodyPr>
          <a:lstStyle/>
          <a:p>
            <a:pPr algn="l"/>
            <a:r>
              <a:rPr lang="de-DE" sz="1800">
                <a:effectLst/>
                <a:latin typeface="Segoe UI" panose="020B0502040204020203" pitchFamily="34" charset="0"/>
              </a:rPr>
              <a:t>Defense &amp; Aerospace</a:t>
            </a:r>
            <a:endParaRPr lang="de-DE"/>
          </a:p>
        </p:txBody>
      </p:sp>
      <p:sp>
        <p:nvSpPr>
          <p:cNvPr id="42" name="Textplatzhalter 14">
            <a:extLst>
              <a:ext uri="{FF2B5EF4-FFF2-40B4-BE49-F238E27FC236}">
                <a16:creationId xmlns:a16="http://schemas.microsoft.com/office/drawing/2014/main" id="{F2DB8BA3-04B8-A1B0-5B42-B5CB48230E5F}"/>
              </a:ext>
            </a:extLst>
          </p:cNvPr>
          <p:cNvSpPr txBox="1">
            <a:spLocks/>
          </p:cNvSpPr>
          <p:nvPr/>
        </p:nvSpPr>
        <p:spPr>
          <a:xfrm>
            <a:off x="6631304"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undesamt für Ausrüstung,  Informationstechnik und   Nutzung der Bundeswehr</a:t>
            </a:r>
          </a:p>
          <a:p>
            <a:pPr marR="0" lvl="0" algn="l" defTabSz="914400" rtl="0" eaLnBrk="1" fontAlgn="auto" latinLnBrk="0" hangingPunct="1">
              <a:lnSpc>
                <a:spcPct val="95000"/>
              </a:lnSpc>
              <a:spcBef>
                <a:spcPts val="60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WI</a:t>
            </a:r>
            <a:endParaRPr lang="de-DE" sz="1300" u="none" strike="noStrike" kern="1200" cap="none" spc="0" normalizeH="0" baseline="0" noProof="0">
              <a:ln>
                <a:noFill/>
              </a:ln>
              <a:effectLst/>
              <a:uLnTx/>
              <a:uFillTx/>
              <a:cs typeface="Calibri Light"/>
            </a:endParaRPr>
          </a:p>
        </p:txBody>
      </p:sp>
    </p:spTree>
    <p:extLst>
      <p:ext uri="{BB962C8B-B14F-4D97-AF65-F5344CB8AC3E}">
        <p14:creationId xmlns:p14="http://schemas.microsoft.com/office/powerpoint/2010/main" val="313553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28">
            <a:extLst>
              <a:ext uri="{FF2B5EF4-FFF2-40B4-BE49-F238E27FC236}">
                <a16:creationId xmlns:a16="http://schemas.microsoft.com/office/drawing/2014/main" id="{44E3A62E-058B-21E7-D579-0B44ABDA4935}"/>
              </a:ext>
            </a:extLst>
          </p:cNvPr>
          <p:cNvPicPr>
            <a:picLocks noGrp="1" noChangeAspect="1"/>
          </p:cNvPicPr>
          <p:nvPr>
            <p:ph type="pic" sz="quarter" idx="11"/>
          </p:nvPr>
        </p:nvPicPr>
        <p:blipFill>
          <a:blip r:embed="rId4"/>
          <a:srcRect/>
          <a:stretch/>
        </p:blipFill>
        <p:spPr bwMode="gray"/>
      </p:pic>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bwMode="gray"/>
        <p:txBody>
          <a:bodyPr vert="horz"/>
          <a:lstStyle/>
          <a:p>
            <a:r>
              <a:rPr lang="de-DE" err="1"/>
              <a:t>Let’s</a:t>
            </a:r>
            <a:r>
              <a:rPr lang="de-DE"/>
              <a:t> </a:t>
            </a:r>
            <a:r>
              <a:rPr lang="de-DE" err="1"/>
              <a:t>talk</a:t>
            </a:r>
            <a:r>
              <a:rPr lang="de-DE"/>
              <a:t> digital!</a:t>
            </a:r>
          </a:p>
        </p:txBody>
      </p:sp>
      <p:sp>
        <p:nvSpPr>
          <p:cNvPr id="10" name="Textplatzhalter 9">
            <a:extLst>
              <a:ext uri="{FF2B5EF4-FFF2-40B4-BE49-F238E27FC236}">
                <a16:creationId xmlns:a16="http://schemas.microsoft.com/office/drawing/2014/main" id="{380FF3E9-2368-3A11-131D-8D4B99ACEB58}"/>
              </a:ext>
            </a:extLst>
          </p:cNvPr>
          <p:cNvSpPr>
            <a:spLocks noGrp="1"/>
          </p:cNvSpPr>
          <p:nvPr>
            <p:ph type="body" sz="quarter" idx="12"/>
          </p:nvPr>
        </p:nvSpPr>
        <p:spPr/>
        <p:txBody>
          <a:bodyPr/>
          <a:lstStyle/>
          <a:p>
            <a:endParaRPr lang="de-DE"/>
          </a:p>
        </p:txBody>
      </p:sp>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platzhalter 18">
            <a:extLst>
              <a:ext uri="{FF2B5EF4-FFF2-40B4-BE49-F238E27FC236}">
                <a16:creationId xmlns:a16="http://schemas.microsoft.com/office/drawing/2014/main" id="{F33769D4-0898-337E-7C35-BF1D7C6C0448}"/>
              </a:ext>
            </a:extLst>
          </p:cNvPr>
          <p:cNvSpPr txBox="1">
            <a:spLocks/>
          </p:cNvSpPr>
          <p:nvPr/>
        </p:nvSpPr>
        <p:spPr bwMode="gray">
          <a:xfrm>
            <a:off x="2082801" y="4583807"/>
            <a:ext cx="6426200" cy="369332"/>
          </a:xfrm>
          <a:prstGeom prst="rect">
            <a:avLst/>
          </a:prstGeom>
          <a:noFill/>
        </p:spPr>
        <p:txBody>
          <a:bodyPr vert="horz" wrap="square" lIns="0" tIns="0" rIns="0" bIns="0" rtlCol="0" anchor="t">
            <a:no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2400" b="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a:lstStyle>
          <a:p>
            <a:r>
              <a:rPr lang="en-US" dirty="0"/>
              <a:t>Thinking business transformation sustainably</a:t>
            </a:r>
          </a:p>
        </p:txBody>
      </p:sp>
      <p:sp>
        <p:nvSpPr>
          <p:cNvPr id="12" name="Textfeld 11">
            <a:extLst>
              <a:ext uri="{FF2B5EF4-FFF2-40B4-BE49-F238E27FC236}">
                <a16:creationId xmlns:a16="http://schemas.microsoft.com/office/drawing/2014/main" id="{302D105A-2358-11B8-0628-E6508DF018B3}"/>
              </a:ext>
            </a:extLst>
          </p:cNvPr>
          <p:cNvSpPr txBox="1"/>
          <p:nvPr/>
        </p:nvSpPr>
        <p:spPr>
          <a:xfrm>
            <a:off x="2082800" y="5779723"/>
            <a:ext cx="3517899" cy="215444"/>
          </a:xfrm>
          <a:prstGeom prst="rect">
            <a:avLst/>
          </a:prstGeom>
        </p:spPr>
        <p:txBody>
          <a:bodyPr vert="horz" wrap="square" lIns="0" tIns="0" rIns="0" bIns="0" rtlCol="0" anchor="t">
            <a:spAutoFit/>
          </a:bodyPr>
          <a:lstStyle/>
          <a:p>
            <a:r>
              <a:rPr lang="de-DE" sz="1400" dirty="0" err="1"/>
              <a:t>msg</a:t>
            </a:r>
            <a:r>
              <a:rPr lang="de-DE" sz="1400" dirty="0"/>
              <a:t> Company </a:t>
            </a:r>
            <a:r>
              <a:rPr lang="de-DE" sz="1400" dirty="0" err="1"/>
              <a:t>Presentation</a:t>
            </a:r>
            <a:r>
              <a:rPr lang="de-DE" sz="1400" dirty="0"/>
              <a:t> 2026</a:t>
            </a:r>
          </a:p>
        </p:txBody>
      </p:sp>
    </p:spTree>
    <p:extLst>
      <p:ext uri="{BB962C8B-B14F-4D97-AF65-F5344CB8AC3E}">
        <p14:creationId xmlns:p14="http://schemas.microsoft.com/office/powerpoint/2010/main" val="11204239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07F2802C-788C-188B-CC6A-DBD69220451A}"/>
              </a:ext>
            </a:extLst>
          </p:cNvPr>
          <p:cNvSpPr>
            <a:spLocks noGrp="1"/>
          </p:cNvSpPr>
          <p:nvPr>
            <p:ph type="body" sz="quarter" idx="12"/>
          </p:nvPr>
        </p:nvSpPr>
        <p:spPr>
          <a:xfrm>
            <a:off x="623888" y="296863"/>
            <a:ext cx="9488833" cy="169277"/>
          </a:xfrm>
        </p:spPr>
        <p:txBody>
          <a:bodyPr/>
          <a:lstStyle/>
          <a:p>
            <a:r>
              <a:rPr lang="de-DE" err="1"/>
              <a:t>Our</a:t>
            </a:r>
            <a:r>
              <a:rPr lang="de-DE"/>
              <a:t> </a:t>
            </a:r>
            <a:r>
              <a:rPr lang="de-DE" err="1"/>
              <a:t>strengths</a:t>
            </a:r>
            <a:r>
              <a:rPr lang="de-DE"/>
              <a:t>, </a:t>
            </a:r>
            <a:r>
              <a:rPr lang="de-DE" err="1"/>
              <a:t>your</a:t>
            </a:r>
            <a:r>
              <a:rPr lang="de-DE"/>
              <a:t> </a:t>
            </a:r>
            <a:r>
              <a:rPr lang="de-DE" err="1"/>
              <a:t>benefits</a:t>
            </a:r>
            <a:endParaRPr lang="de-DE"/>
          </a:p>
        </p:txBody>
      </p:sp>
      <p:sp>
        <p:nvSpPr>
          <p:cNvPr id="3" name="Titel 2">
            <a:extLst>
              <a:ext uri="{FF2B5EF4-FFF2-40B4-BE49-F238E27FC236}">
                <a16:creationId xmlns:a16="http://schemas.microsoft.com/office/drawing/2014/main" id="{1C5966F0-C59B-3F77-9786-B2D9148532F7}"/>
              </a:ext>
            </a:extLst>
          </p:cNvPr>
          <p:cNvSpPr>
            <a:spLocks noGrp="1"/>
          </p:cNvSpPr>
          <p:nvPr>
            <p:ph type="title"/>
          </p:nvPr>
        </p:nvSpPr>
        <p:spPr>
          <a:xfrm>
            <a:off x="623888" y="620713"/>
            <a:ext cx="9488833" cy="738664"/>
          </a:xfrm>
        </p:spPr>
        <p:txBody>
          <a:bodyPr/>
          <a:lstStyle/>
          <a:p>
            <a:r>
              <a:rPr lang="en-US" b="1" dirty="0"/>
              <a:t>Excellent consulting, comprehensive solutions and services</a:t>
            </a:r>
            <a:br>
              <a:rPr lang="en-US" dirty="0"/>
            </a:br>
            <a:r>
              <a:rPr lang="en-US" dirty="0"/>
              <a:t>for the digital transformation of your business </a:t>
            </a:r>
          </a:p>
        </p:txBody>
      </p:sp>
      <p:sp>
        <p:nvSpPr>
          <p:cNvPr id="16" name="Fußzeilenplatzhalter 1">
            <a:extLst>
              <a:ext uri="{FF2B5EF4-FFF2-40B4-BE49-F238E27FC236}">
                <a16:creationId xmlns:a16="http://schemas.microsoft.com/office/drawing/2014/main" id="{6D97C5F2-CE77-5512-AE0F-17E451BAC33F}"/>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30</a:t>
            </a:fld>
            <a:endParaRPr lang="de-DE"/>
          </a:p>
        </p:txBody>
      </p:sp>
      <p:sp>
        <p:nvSpPr>
          <p:cNvPr id="11" name="Rechteck 10">
            <a:extLst>
              <a:ext uri="{FF2B5EF4-FFF2-40B4-BE49-F238E27FC236}">
                <a16:creationId xmlns:a16="http://schemas.microsoft.com/office/drawing/2014/main" id="{87E05539-FD27-5224-1386-2168FA04B6E6}"/>
              </a:ext>
            </a:extLst>
          </p:cNvPr>
          <p:cNvSpPr/>
          <p:nvPr/>
        </p:nvSpPr>
        <p:spPr>
          <a:xfrm>
            <a:off x="598858"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7" name="Rechteck 16">
            <a:extLst>
              <a:ext uri="{FF2B5EF4-FFF2-40B4-BE49-F238E27FC236}">
                <a16:creationId xmlns:a16="http://schemas.microsoft.com/office/drawing/2014/main" id="{A9A1D766-25D3-E31B-93B8-ADFCADD271FC}"/>
              </a:ext>
            </a:extLst>
          </p:cNvPr>
          <p:cNvSpPr/>
          <p:nvPr/>
        </p:nvSpPr>
        <p:spPr>
          <a:xfrm>
            <a:off x="3531160"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8" name="Rechteck 17">
            <a:extLst>
              <a:ext uri="{FF2B5EF4-FFF2-40B4-BE49-F238E27FC236}">
                <a16:creationId xmlns:a16="http://schemas.microsoft.com/office/drawing/2014/main" id="{3A628723-EA2D-8DE5-9CA7-C70CEEC27891}"/>
              </a:ext>
            </a:extLst>
          </p:cNvPr>
          <p:cNvSpPr/>
          <p:nvPr/>
        </p:nvSpPr>
        <p:spPr>
          <a:xfrm>
            <a:off x="6428663"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9" name="Rechteck 18">
            <a:extLst>
              <a:ext uri="{FF2B5EF4-FFF2-40B4-BE49-F238E27FC236}">
                <a16:creationId xmlns:a16="http://schemas.microsoft.com/office/drawing/2014/main" id="{08F561F7-9501-9DDD-0315-C3B2F998D355}"/>
              </a:ext>
            </a:extLst>
          </p:cNvPr>
          <p:cNvSpPr/>
          <p:nvPr/>
        </p:nvSpPr>
        <p:spPr>
          <a:xfrm>
            <a:off x="9326166"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22" name="Kreis: nicht ausgefüllt 21">
            <a:extLst>
              <a:ext uri="{FF2B5EF4-FFF2-40B4-BE49-F238E27FC236}">
                <a16:creationId xmlns:a16="http://schemas.microsoft.com/office/drawing/2014/main" id="{F7F7EDC0-B502-79FC-EBE3-68D7EBCA327F}"/>
              </a:ext>
            </a:extLst>
          </p:cNvPr>
          <p:cNvSpPr/>
          <p:nvPr/>
        </p:nvSpPr>
        <p:spPr>
          <a:xfrm>
            <a:off x="4094752" y="2424393"/>
            <a:ext cx="1356318" cy="1356318"/>
          </a:xfrm>
          <a:prstGeom prst="donut">
            <a:avLst>
              <a:gd name="adj" fmla="val 4944"/>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3" name="Kreis: nicht ausgefüllt 22">
            <a:extLst>
              <a:ext uri="{FF2B5EF4-FFF2-40B4-BE49-F238E27FC236}">
                <a16:creationId xmlns:a16="http://schemas.microsoft.com/office/drawing/2014/main" id="{EF079C3D-DC44-D8CA-6F13-1E225625064F}"/>
              </a:ext>
            </a:extLst>
          </p:cNvPr>
          <p:cNvSpPr/>
          <p:nvPr/>
        </p:nvSpPr>
        <p:spPr>
          <a:xfrm>
            <a:off x="1215266" y="2424393"/>
            <a:ext cx="1356318" cy="1356318"/>
          </a:xfrm>
          <a:prstGeom prst="donut">
            <a:avLst>
              <a:gd name="adj" fmla="val 4944"/>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4" name="Kreis: nicht ausgefüllt 23">
            <a:extLst>
              <a:ext uri="{FF2B5EF4-FFF2-40B4-BE49-F238E27FC236}">
                <a16:creationId xmlns:a16="http://schemas.microsoft.com/office/drawing/2014/main" id="{0DCEF1E5-CC0A-F59D-4C5A-9199D6735AAA}"/>
              </a:ext>
            </a:extLst>
          </p:cNvPr>
          <p:cNvSpPr/>
          <p:nvPr/>
        </p:nvSpPr>
        <p:spPr>
          <a:xfrm>
            <a:off x="7000769" y="2424393"/>
            <a:ext cx="1356318" cy="1356318"/>
          </a:xfrm>
          <a:prstGeom prst="donut">
            <a:avLst>
              <a:gd name="adj" fmla="val 4944"/>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5" name="Kreis: nicht ausgefüllt 24">
            <a:extLst>
              <a:ext uri="{FF2B5EF4-FFF2-40B4-BE49-F238E27FC236}">
                <a16:creationId xmlns:a16="http://schemas.microsoft.com/office/drawing/2014/main" id="{5D604FFA-48AE-E6D3-7300-82A865D4D089}"/>
              </a:ext>
            </a:extLst>
          </p:cNvPr>
          <p:cNvSpPr/>
          <p:nvPr/>
        </p:nvSpPr>
        <p:spPr>
          <a:xfrm>
            <a:off x="9908007" y="2424393"/>
            <a:ext cx="1356318" cy="1356318"/>
          </a:xfrm>
          <a:prstGeom prst="donut">
            <a:avLst>
              <a:gd name="adj" fmla="val 4944"/>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26" name="Grafik 25" descr="Ein Bild, das Kreis, Farbigkeit, Astronomie enthält.&#10;&#10;Automatisch generierte Beschreibung">
            <a:extLst>
              <a:ext uri="{FF2B5EF4-FFF2-40B4-BE49-F238E27FC236}">
                <a16:creationId xmlns:a16="http://schemas.microsoft.com/office/drawing/2014/main" id="{02B410DC-1D14-7A84-5CE3-43A9084C6DD8}"/>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11269" t="11269" r="11269" b="11269"/>
          <a:stretch/>
        </p:blipFill>
        <p:spPr>
          <a:xfrm>
            <a:off x="4237858" y="2540412"/>
            <a:ext cx="1076752" cy="1074740"/>
          </a:xfrm>
          <a:prstGeom prst="ellipse">
            <a:avLst/>
          </a:prstGeom>
        </p:spPr>
      </p:pic>
      <p:sp>
        <p:nvSpPr>
          <p:cNvPr id="27" name="Textplatzhalter 14">
            <a:extLst>
              <a:ext uri="{FF2B5EF4-FFF2-40B4-BE49-F238E27FC236}">
                <a16:creationId xmlns:a16="http://schemas.microsoft.com/office/drawing/2014/main" id="{7E253B68-0BD6-D89D-3E5A-3B9B76E06706}"/>
              </a:ext>
            </a:extLst>
          </p:cNvPr>
          <p:cNvSpPr txBox="1">
            <a:spLocks/>
          </p:cNvSpPr>
          <p:nvPr/>
        </p:nvSpPr>
        <p:spPr>
          <a:xfrm>
            <a:off x="3182907" y="1791457"/>
            <a:ext cx="6129979" cy="25648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en-US" b="1">
                <a:cs typeface="Calibri"/>
              </a:rPr>
              <a:t>We have the right solution for your specific needs.</a:t>
            </a:r>
          </a:p>
        </p:txBody>
      </p:sp>
      <p:sp>
        <p:nvSpPr>
          <p:cNvPr id="28" name="Textplatzhalter 14">
            <a:extLst>
              <a:ext uri="{FF2B5EF4-FFF2-40B4-BE49-F238E27FC236}">
                <a16:creationId xmlns:a16="http://schemas.microsoft.com/office/drawing/2014/main" id="{C2BE4F5B-912C-1C9F-DC3D-9EBAF329FEA0}"/>
              </a:ext>
            </a:extLst>
          </p:cNvPr>
          <p:cNvSpPr txBox="1">
            <a:spLocks/>
          </p:cNvSpPr>
          <p:nvPr/>
        </p:nvSpPr>
        <p:spPr>
          <a:xfrm>
            <a:off x="623888" y="4528534"/>
            <a:ext cx="2529769" cy="1384995"/>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en-US" b="1">
                <a:solidFill>
                  <a:schemeClr val="accent1"/>
                </a:solidFill>
                <a:cs typeface="Calibri"/>
              </a:rPr>
              <a:t>Efficient and </a:t>
            </a:r>
          </a:p>
          <a:p>
            <a:pPr algn="ctr">
              <a:lnSpc>
                <a:spcPct val="100000"/>
              </a:lnSpc>
            </a:pPr>
            <a:r>
              <a:rPr lang="en-US" b="1">
                <a:solidFill>
                  <a:schemeClr val="accent1"/>
                </a:solidFill>
                <a:cs typeface="Calibri"/>
              </a:rPr>
              <a:t>well thought out</a:t>
            </a:r>
            <a:br>
              <a:rPr lang="de-DE">
                <a:solidFill>
                  <a:schemeClr val="accent1"/>
                </a:solidFill>
                <a:cs typeface="Calibri"/>
              </a:rPr>
            </a:br>
            <a:endParaRPr lang="de-DE">
              <a:solidFill>
                <a:schemeClr val="accent1"/>
              </a:solidFill>
              <a:cs typeface="Calibri"/>
            </a:endParaRPr>
          </a:p>
          <a:p>
            <a:pPr algn="ctr">
              <a:lnSpc>
                <a:spcPct val="100000"/>
              </a:lnSpc>
            </a:pPr>
            <a:r>
              <a:rPr lang="en-US" sz="1200">
                <a:cs typeface="Calibri"/>
              </a:rPr>
              <a:t>Industry know-how </a:t>
            </a:r>
            <a:br>
              <a:rPr lang="en-US" sz="1200">
                <a:cs typeface="Calibri"/>
              </a:rPr>
            </a:br>
            <a:r>
              <a:rPr lang="en-US" sz="1200">
                <a:cs typeface="Calibri"/>
              </a:rPr>
              <a:t>and IT expertise </a:t>
            </a:r>
            <a:br>
              <a:rPr lang="en-US" sz="1200">
                <a:cs typeface="Calibri"/>
              </a:rPr>
            </a:br>
            <a:r>
              <a:rPr lang="en-US" sz="1200">
                <a:cs typeface="Calibri"/>
              </a:rPr>
              <a:t>from a single source</a:t>
            </a:r>
          </a:p>
        </p:txBody>
      </p:sp>
      <p:sp>
        <p:nvSpPr>
          <p:cNvPr id="29" name="Textplatzhalter 14">
            <a:extLst>
              <a:ext uri="{FF2B5EF4-FFF2-40B4-BE49-F238E27FC236}">
                <a16:creationId xmlns:a16="http://schemas.microsoft.com/office/drawing/2014/main" id="{E2471EA6-DBD8-CCA7-7846-8A306B08EFB3}"/>
              </a:ext>
            </a:extLst>
          </p:cNvPr>
          <p:cNvSpPr txBox="1">
            <a:spLocks/>
          </p:cNvSpPr>
          <p:nvPr/>
        </p:nvSpPr>
        <p:spPr>
          <a:xfrm>
            <a:off x="3531160" y="4528534"/>
            <a:ext cx="2520000" cy="138499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err="1">
                <a:solidFill>
                  <a:schemeClr val="accent1"/>
                </a:solidFill>
                <a:cs typeface="Calibri"/>
              </a:rPr>
              <a:t>Exceptional</a:t>
            </a:r>
            <a:r>
              <a:rPr lang="de-DE" b="1">
                <a:solidFill>
                  <a:schemeClr val="accent1"/>
                </a:solidFill>
                <a:cs typeface="Calibri"/>
              </a:rPr>
              <a:t> </a:t>
            </a:r>
            <a:br>
              <a:rPr lang="de-DE" b="1">
                <a:solidFill>
                  <a:schemeClr val="accent1"/>
                </a:solidFill>
                <a:cs typeface="Calibri"/>
              </a:rPr>
            </a:br>
            <a:r>
              <a:rPr lang="de-DE" b="1" err="1">
                <a:solidFill>
                  <a:schemeClr val="accent1"/>
                </a:solidFill>
                <a:cs typeface="Calibri"/>
              </a:rPr>
              <a:t>corporate</a:t>
            </a:r>
            <a:r>
              <a:rPr lang="de-DE" b="1">
                <a:solidFill>
                  <a:schemeClr val="accent1"/>
                </a:solidFill>
                <a:cs typeface="Calibri"/>
              </a:rPr>
              <a:t> </a:t>
            </a:r>
            <a:r>
              <a:rPr lang="de-DE" b="1" err="1">
                <a:solidFill>
                  <a:schemeClr val="accent1"/>
                </a:solidFill>
                <a:cs typeface="Calibri"/>
              </a:rPr>
              <a:t>culture</a:t>
            </a:r>
            <a:br>
              <a:rPr lang="de-DE" b="1">
                <a:solidFill>
                  <a:schemeClr val="accent1"/>
                </a:solidFill>
                <a:cs typeface="Calibri"/>
              </a:rPr>
            </a:br>
            <a:endParaRPr lang="de-DE" b="1">
              <a:solidFill>
                <a:schemeClr val="accent1"/>
              </a:solidFill>
              <a:cs typeface="Calibri"/>
            </a:endParaRPr>
          </a:p>
          <a:p>
            <a:pPr algn="ctr">
              <a:lnSpc>
                <a:spcPct val="100000"/>
              </a:lnSpc>
            </a:pPr>
            <a:r>
              <a:rPr lang="en-US" sz="1200">
                <a:cs typeface="Calibri"/>
              </a:rPr>
              <a:t>Awarded for </a:t>
            </a:r>
            <a:br>
              <a:rPr lang="en-US" sz="1200">
                <a:cs typeface="Calibri"/>
              </a:rPr>
            </a:br>
            <a:r>
              <a:rPr lang="en-US" sz="1200">
                <a:cs typeface="Calibri"/>
              </a:rPr>
              <a:t>highest motivation </a:t>
            </a:r>
          </a:p>
          <a:p>
            <a:pPr algn="ctr">
              <a:lnSpc>
                <a:spcPct val="100000"/>
              </a:lnSpc>
            </a:pPr>
            <a:r>
              <a:rPr lang="en-US" sz="1200">
                <a:cs typeface="Calibri"/>
              </a:rPr>
              <a:t>and best results </a:t>
            </a:r>
          </a:p>
        </p:txBody>
      </p:sp>
      <p:sp>
        <p:nvSpPr>
          <p:cNvPr id="39" name="Textplatzhalter 14">
            <a:extLst>
              <a:ext uri="{FF2B5EF4-FFF2-40B4-BE49-F238E27FC236}">
                <a16:creationId xmlns:a16="http://schemas.microsoft.com/office/drawing/2014/main" id="{ECE8538E-66A4-ABCD-7634-E861DC0F4259}"/>
              </a:ext>
            </a:extLst>
          </p:cNvPr>
          <p:cNvSpPr txBox="1">
            <a:spLocks/>
          </p:cNvSpPr>
          <p:nvPr/>
        </p:nvSpPr>
        <p:spPr>
          <a:xfrm>
            <a:off x="6428663" y="4528534"/>
            <a:ext cx="2520000" cy="1355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End-</a:t>
            </a:r>
            <a:r>
              <a:rPr lang="de-DE" b="1" err="1">
                <a:solidFill>
                  <a:schemeClr val="accent1"/>
                </a:solidFill>
                <a:cs typeface="Calibri"/>
              </a:rPr>
              <a:t>to</a:t>
            </a:r>
            <a:r>
              <a:rPr lang="de-DE" b="1">
                <a:solidFill>
                  <a:schemeClr val="accent1"/>
                </a:solidFill>
                <a:cs typeface="Calibri"/>
              </a:rPr>
              <a:t>-end</a:t>
            </a:r>
          </a:p>
          <a:p>
            <a:pPr algn="ctr">
              <a:lnSpc>
                <a:spcPct val="100000"/>
              </a:lnSpc>
            </a:pPr>
            <a:r>
              <a:rPr lang="de-DE" b="1" err="1">
                <a:solidFill>
                  <a:schemeClr val="accent1"/>
                </a:solidFill>
                <a:cs typeface="Calibri"/>
              </a:rPr>
              <a:t>solutions</a:t>
            </a:r>
            <a:endParaRPr lang="de-DE" b="1">
              <a:solidFill>
                <a:schemeClr val="accent1"/>
              </a:solidFill>
              <a:cs typeface="Calibri"/>
            </a:endParaRPr>
          </a:p>
          <a:p>
            <a:pPr algn="ctr">
              <a:lnSpc>
                <a:spcPct val="100000"/>
              </a:lnSpc>
            </a:pPr>
            <a:endParaRPr lang="de-DE" sz="1400">
              <a:cs typeface="Calibri"/>
            </a:endParaRPr>
          </a:p>
          <a:p>
            <a:pPr algn="ctr">
              <a:lnSpc>
                <a:spcPct val="100000"/>
              </a:lnSpc>
            </a:pPr>
            <a:r>
              <a:rPr lang="en-US" sz="1200">
                <a:cs typeface="Calibri"/>
              </a:rPr>
              <a:t>Support from the idea </a:t>
            </a:r>
            <a:br>
              <a:rPr lang="en-US" sz="1200">
                <a:cs typeface="Calibri"/>
              </a:rPr>
            </a:br>
            <a:r>
              <a:rPr lang="en-US" sz="1200">
                <a:cs typeface="Calibri"/>
              </a:rPr>
              <a:t>through implementation </a:t>
            </a:r>
            <a:br>
              <a:rPr lang="en-US" sz="1200">
                <a:cs typeface="Calibri"/>
              </a:rPr>
            </a:br>
            <a:r>
              <a:rPr lang="en-US" sz="1200">
                <a:cs typeface="Calibri"/>
              </a:rPr>
              <a:t>to operation and maintenance </a:t>
            </a:r>
          </a:p>
        </p:txBody>
      </p:sp>
      <p:sp>
        <p:nvSpPr>
          <p:cNvPr id="40" name="Textplatzhalter 14">
            <a:extLst>
              <a:ext uri="{FF2B5EF4-FFF2-40B4-BE49-F238E27FC236}">
                <a16:creationId xmlns:a16="http://schemas.microsoft.com/office/drawing/2014/main" id="{5814E73A-5228-1337-6DF0-12167C9FF0D5}"/>
              </a:ext>
            </a:extLst>
          </p:cNvPr>
          <p:cNvSpPr txBox="1">
            <a:spLocks/>
          </p:cNvSpPr>
          <p:nvPr/>
        </p:nvSpPr>
        <p:spPr>
          <a:xfrm>
            <a:off x="9326166" y="4528534"/>
            <a:ext cx="2530872" cy="1323439"/>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Smart </a:t>
            </a:r>
          </a:p>
          <a:p>
            <a:pPr algn="ctr">
              <a:lnSpc>
                <a:spcPct val="100000"/>
              </a:lnSpc>
            </a:pPr>
            <a:r>
              <a:rPr lang="de-DE" b="1" err="1">
                <a:solidFill>
                  <a:schemeClr val="accent1"/>
                </a:solidFill>
                <a:cs typeface="Calibri"/>
              </a:rPr>
              <a:t>service</a:t>
            </a:r>
            <a:r>
              <a:rPr lang="de-DE" b="1">
                <a:solidFill>
                  <a:schemeClr val="accent1"/>
                </a:solidFill>
                <a:cs typeface="Calibri"/>
              </a:rPr>
              <a:t> </a:t>
            </a:r>
            <a:r>
              <a:rPr lang="de-DE" b="1" err="1">
                <a:solidFill>
                  <a:schemeClr val="accent1"/>
                </a:solidFill>
                <a:cs typeface="Calibri"/>
              </a:rPr>
              <a:t>portfolio</a:t>
            </a:r>
            <a:endParaRPr lang="de-DE" b="1">
              <a:solidFill>
                <a:schemeClr val="accent1"/>
              </a:solidFill>
              <a:cs typeface="Calibri"/>
            </a:endParaRPr>
          </a:p>
          <a:p>
            <a:pPr algn="ctr">
              <a:lnSpc>
                <a:spcPct val="100000"/>
              </a:lnSpc>
            </a:pPr>
            <a:endParaRPr lang="de-DE" sz="1400">
              <a:cs typeface="Calibri"/>
            </a:endParaRPr>
          </a:p>
          <a:p>
            <a:pPr algn="ctr">
              <a:lnSpc>
                <a:spcPct val="100000"/>
              </a:lnSpc>
            </a:pPr>
            <a:r>
              <a:rPr lang="en-US" sz="1200">
                <a:cs typeface="Calibri"/>
              </a:rPr>
              <a:t>Intelligent solutions </a:t>
            </a:r>
          </a:p>
          <a:p>
            <a:pPr algn="ctr">
              <a:lnSpc>
                <a:spcPct val="100000"/>
              </a:lnSpc>
            </a:pPr>
            <a:r>
              <a:rPr lang="en-US" sz="1200">
                <a:cs typeface="Calibri"/>
              </a:rPr>
              <a:t>and applications</a:t>
            </a:r>
          </a:p>
          <a:p>
            <a:pPr algn="ctr">
              <a:lnSpc>
                <a:spcPct val="100000"/>
              </a:lnSpc>
            </a:pPr>
            <a:r>
              <a:rPr lang="en-US" sz="1200">
                <a:cs typeface="Calibri"/>
              </a:rPr>
              <a:t> for your digitalization</a:t>
            </a:r>
            <a:endParaRPr lang="de-DE" sz="1200">
              <a:cs typeface="Calibri"/>
            </a:endParaRPr>
          </a:p>
        </p:txBody>
      </p:sp>
      <p:sp>
        <p:nvSpPr>
          <p:cNvPr id="41" name="Textplatzhalter 14">
            <a:extLst>
              <a:ext uri="{FF2B5EF4-FFF2-40B4-BE49-F238E27FC236}">
                <a16:creationId xmlns:a16="http://schemas.microsoft.com/office/drawing/2014/main" id="{CD399381-E925-0C93-DB75-2C5258541E3A}"/>
              </a:ext>
            </a:extLst>
          </p:cNvPr>
          <p:cNvSpPr txBox="1">
            <a:spLocks/>
          </p:cNvSpPr>
          <p:nvPr/>
        </p:nvSpPr>
        <p:spPr>
          <a:xfrm>
            <a:off x="1257480" y="2753872"/>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1</a:t>
            </a:r>
          </a:p>
        </p:txBody>
      </p:sp>
      <p:grpSp>
        <p:nvGrpSpPr>
          <p:cNvPr id="42" name="Gruppieren 41">
            <a:extLst>
              <a:ext uri="{FF2B5EF4-FFF2-40B4-BE49-F238E27FC236}">
                <a16:creationId xmlns:a16="http://schemas.microsoft.com/office/drawing/2014/main" id="{77A17D3D-5443-2427-E85D-427BDAB09508}"/>
              </a:ext>
            </a:extLst>
          </p:cNvPr>
          <p:cNvGrpSpPr/>
          <p:nvPr/>
        </p:nvGrpSpPr>
        <p:grpSpPr>
          <a:xfrm>
            <a:off x="1613113" y="3064155"/>
            <a:ext cx="574314" cy="495098"/>
            <a:chOff x="3566465" y="2508616"/>
            <a:chExt cx="818285" cy="705417"/>
          </a:xfrm>
        </p:grpSpPr>
        <p:sp>
          <p:nvSpPr>
            <p:cNvPr id="43" name="Freihandform: Form 69">
              <a:extLst>
                <a:ext uri="{FF2B5EF4-FFF2-40B4-BE49-F238E27FC236}">
                  <a16:creationId xmlns:a16="http://schemas.microsoft.com/office/drawing/2014/main" id="{EDA4F772-E7E3-110E-451A-77D04A826FA4}"/>
                </a:ext>
              </a:extLst>
            </p:cNvPr>
            <p:cNvSpPr/>
            <p:nvPr/>
          </p:nvSpPr>
          <p:spPr>
            <a:xfrm>
              <a:off x="4159014" y="2677915"/>
              <a:ext cx="112867" cy="84652"/>
            </a:xfrm>
            <a:custGeom>
              <a:avLst/>
              <a:gdLst>
                <a:gd name="connsiteX0" fmla="*/ 112868 w 112867"/>
                <a:gd name="connsiteY0" fmla="*/ 0 h 84652"/>
                <a:gd name="connsiteX1" fmla="*/ 112868 w 112867"/>
                <a:gd name="connsiteY1" fmla="*/ 84653 h 84652"/>
                <a:gd name="connsiteX2" fmla="*/ 0 w 112867"/>
                <a:gd name="connsiteY2" fmla="*/ 84653 h 84652"/>
              </a:gdLst>
              <a:ahLst/>
              <a:cxnLst>
                <a:cxn ang="0">
                  <a:pos x="connsiteX0" y="connsiteY0"/>
                </a:cxn>
                <a:cxn ang="0">
                  <a:pos x="connsiteX1" y="connsiteY1"/>
                </a:cxn>
                <a:cxn ang="0">
                  <a:pos x="connsiteX2" y="connsiteY2"/>
                </a:cxn>
              </a:cxnLst>
              <a:rect l="l" t="t" r="r" b="b"/>
              <a:pathLst>
                <a:path w="112867" h="84652">
                  <a:moveTo>
                    <a:pt x="112868" y="0"/>
                  </a:moveTo>
                  <a:lnTo>
                    <a:pt x="112868" y="84653"/>
                  </a:lnTo>
                  <a:lnTo>
                    <a:pt x="0" y="84653"/>
                  </a:lnTo>
                </a:path>
              </a:pathLst>
            </a:custGeom>
            <a:noFill/>
            <a:ln w="9525" cap="rnd">
              <a:solidFill>
                <a:schemeClr val="tx2"/>
              </a:solidFill>
              <a:prstDash val="solid"/>
              <a:miter/>
            </a:ln>
          </p:spPr>
          <p:txBody>
            <a:bodyPr rtlCol="0" anchor="ctr"/>
            <a:lstStyle/>
            <a:p>
              <a:endParaRPr lang="de-DE"/>
            </a:p>
          </p:txBody>
        </p:sp>
        <p:sp>
          <p:nvSpPr>
            <p:cNvPr id="44" name="Freihandform: Form 70">
              <a:extLst>
                <a:ext uri="{FF2B5EF4-FFF2-40B4-BE49-F238E27FC236}">
                  <a16:creationId xmlns:a16="http://schemas.microsoft.com/office/drawing/2014/main" id="{F84EC22A-E61B-C61E-28DE-CD02B2C2BD9A}"/>
                </a:ext>
              </a:extLst>
            </p:cNvPr>
            <p:cNvSpPr/>
            <p:nvPr/>
          </p:nvSpPr>
          <p:spPr>
            <a:xfrm>
              <a:off x="4159014" y="2931866"/>
              <a:ext cx="112867" cy="84649"/>
            </a:xfrm>
            <a:custGeom>
              <a:avLst/>
              <a:gdLst>
                <a:gd name="connsiteX0" fmla="*/ 112868 w 112867"/>
                <a:gd name="connsiteY0" fmla="*/ 84649 h 84649"/>
                <a:gd name="connsiteX1" fmla="*/ 112868 w 112867"/>
                <a:gd name="connsiteY1" fmla="*/ 0 h 84649"/>
                <a:gd name="connsiteX2" fmla="*/ 0 w 112867"/>
                <a:gd name="connsiteY2" fmla="*/ 0 h 84649"/>
              </a:gdLst>
              <a:ahLst/>
              <a:cxnLst>
                <a:cxn ang="0">
                  <a:pos x="connsiteX0" y="connsiteY0"/>
                </a:cxn>
                <a:cxn ang="0">
                  <a:pos x="connsiteX1" y="connsiteY1"/>
                </a:cxn>
                <a:cxn ang="0">
                  <a:pos x="connsiteX2" y="connsiteY2"/>
                </a:cxn>
              </a:cxnLst>
              <a:rect l="l" t="t" r="r" b="b"/>
              <a:pathLst>
                <a:path w="112867" h="84649">
                  <a:moveTo>
                    <a:pt x="112868" y="84649"/>
                  </a:moveTo>
                  <a:lnTo>
                    <a:pt x="112868" y="0"/>
                  </a:lnTo>
                  <a:lnTo>
                    <a:pt x="0" y="0"/>
                  </a:lnTo>
                </a:path>
              </a:pathLst>
            </a:custGeom>
            <a:noFill/>
            <a:ln w="9525" cap="rnd">
              <a:solidFill>
                <a:schemeClr val="tx2"/>
              </a:solidFill>
              <a:prstDash val="solid"/>
              <a:miter/>
            </a:ln>
          </p:spPr>
          <p:txBody>
            <a:bodyPr rtlCol="0" anchor="ctr"/>
            <a:lstStyle/>
            <a:p>
              <a:endParaRPr lang="de-DE"/>
            </a:p>
          </p:txBody>
        </p:sp>
        <p:sp>
          <p:nvSpPr>
            <p:cNvPr id="45" name="Freihandform: Form 71">
              <a:extLst>
                <a:ext uri="{FF2B5EF4-FFF2-40B4-BE49-F238E27FC236}">
                  <a16:creationId xmlns:a16="http://schemas.microsoft.com/office/drawing/2014/main" id="{5924EA49-E6C9-40E6-8368-F3CB09BE9B95}"/>
                </a:ext>
              </a:extLst>
            </p:cNvPr>
            <p:cNvSpPr/>
            <p:nvPr/>
          </p:nvSpPr>
          <p:spPr>
            <a:xfrm>
              <a:off x="4017931" y="3044731"/>
              <a:ext cx="84649" cy="126975"/>
            </a:xfrm>
            <a:custGeom>
              <a:avLst/>
              <a:gdLst>
                <a:gd name="connsiteX0" fmla="*/ 0 w 84649"/>
                <a:gd name="connsiteY0" fmla="*/ 0 h 126975"/>
                <a:gd name="connsiteX1" fmla="*/ 0 w 84649"/>
                <a:gd name="connsiteY1" fmla="*/ 126976 h 126975"/>
                <a:gd name="connsiteX2" fmla="*/ 84649 w 84649"/>
                <a:gd name="connsiteY2" fmla="*/ 126976 h 126975"/>
              </a:gdLst>
              <a:ahLst/>
              <a:cxnLst>
                <a:cxn ang="0">
                  <a:pos x="connsiteX0" y="connsiteY0"/>
                </a:cxn>
                <a:cxn ang="0">
                  <a:pos x="connsiteX1" y="connsiteY1"/>
                </a:cxn>
                <a:cxn ang="0">
                  <a:pos x="connsiteX2" y="connsiteY2"/>
                </a:cxn>
              </a:cxnLst>
              <a:rect l="l" t="t" r="r" b="b"/>
              <a:pathLst>
                <a:path w="84649" h="126975">
                  <a:moveTo>
                    <a:pt x="0" y="0"/>
                  </a:moveTo>
                  <a:lnTo>
                    <a:pt x="0" y="126976"/>
                  </a:lnTo>
                  <a:lnTo>
                    <a:pt x="84649" y="126976"/>
                  </a:lnTo>
                </a:path>
              </a:pathLst>
            </a:custGeom>
            <a:noFill/>
            <a:ln w="9525" cap="rnd">
              <a:solidFill>
                <a:schemeClr val="tx2"/>
              </a:solidFill>
              <a:prstDash val="solid"/>
              <a:miter/>
            </a:ln>
          </p:spPr>
          <p:txBody>
            <a:bodyPr rtlCol="0" anchor="ctr"/>
            <a:lstStyle/>
            <a:p>
              <a:endParaRPr lang="de-DE"/>
            </a:p>
          </p:txBody>
        </p:sp>
        <p:sp>
          <p:nvSpPr>
            <p:cNvPr id="46" name="Freihandform: Form 72">
              <a:extLst>
                <a:ext uri="{FF2B5EF4-FFF2-40B4-BE49-F238E27FC236}">
                  <a16:creationId xmlns:a16="http://schemas.microsoft.com/office/drawing/2014/main" id="{B48A06EB-AFED-CFC0-0B75-73650D308046}"/>
                </a:ext>
              </a:extLst>
            </p:cNvPr>
            <p:cNvSpPr/>
            <p:nvPr/>
          </p:nvSpPr>
          <p:spPr>
            <a:xfrm>
              <a:off x="4159014" y="2847217"/>
              <a:ext cx="141083" cy="313"/>
            </a:xfrm>
            <a:custGeom>
              <a:avLst/>
              <a:gdLst>
                <a:gd name="connsiteX0" fmla="*/ 0 w 141083"/>
                <a:gd name="connsiteY0" fmla="*/ 0 h 313"/>
                <a:gd name="connsiteX1" fmla="*/ 141083 w 141083"/>
                <a:gd name="connsiteY1" fmla="*/ 0 h 313"/>
              </a:gdLst>
              <a:ahLst/>
              <a:cxnLst>
                <a:cxn ang="0">
                  <a:pos x="connsiteX0" y="connsiteY0"/>
                </a:cxn>
                <a:cxn ang="0">
                  <a:pos x="connsiteX1" y="connsiteY1"/>
                </a:cxn>
              </a:cxnLst>
              <a:rect l="l" t="t" r="r" b="b"/>
              <a:pathLst>
                <a:path w="141083" h="313">
                  <a:moveTo>
                    <a:pt x="0" y="0"/>
                  </a:moveTo>
                  <a:lnTo>
                    <a:pt x="141083" y="0"/>
                  </a:lnTo>
                </a:path>
              </a:pathLst>
            </a:custGeom>
            <a:ln w="9525" cap="rnd">
              <a:solidFill>
                <a:schemeClr val="tx2"/>
              </a:solidFill>
              <a:prstDash val="solid"/>
              <a:miter/>
            </a:ln>
          </p:spPr>
          <p:txBody>
            <a:bodyPr rtlCol="0" anchor="ctr"/>
            <a:lstStyle/>
            <a:p>
              <a:endParaRPr lang="de-DE"/>
            </a:p>
          </p:txBody>
        </p:sp>
        <p:sp>
          <p:nvSpPr>
            <p:cNvPr id="47" name="Freihandform: Form 77">
              <a:extLst>
                <a:ext uri="{FF2B5EF4-FFF2-40B4-BE49-F238E27FC236}">
                  <a16:creationId xmlns:a16="http://schemas.microsoft.com/office/drawing/2014/main" id="{A1992458-ABEE-36FA-686A-95D8D1BFD69D}"/>
                </a:ext>
              </a:extLst>
            </p:cNvPr>
            <p:cNvSpPr/>
            <p:nvPr/>
          </p:nvSpPr>
          <p:spPr>
            <a:xfrm>
              <a:off x="3679333" y="2677915"/>
              <a:ext cx="112864" cy="84652"/>
            </a:xfrm>
            <a:custGeom>
              <a:avLst/>
              <a:gdLst>
                <a:gd name="connsiteX0" fmla="*/ 0 w 112864"/>
                <a:gd name="connsiteY0" fmla="*/ 0 h 84652"/>
                <a:gd name="connsiteX1" fmla="*/ 0 w 112864"/>
                <a:gd name="connsiteY1" fmla="*/ 84653 h 84652"/>
                <a:gd name="connsiteX2" fmla="*/ 112865 w 112864"/>
                <a:gd name="connsiteY2" fmla="*/ 84653 h 84652"/>
              </a:gdLst>
              <a:ahLst/>
              <a:cxnLst>
                <a:cxn ang="0">
                  <a:pos x="connsiteX0" y="connsiteY0"/>
                </a:cxn>
                <a:cxn ang="0">
                  <a:pos x="connsiteX1" y="connsiteY1"/>
                </a:cxn>
                <a:cxn ang="0">
                  <a:pos x="connsiteX2" y="connsiteY2"/>
                </a:cxn>
              </a:cxnLst>
              <a:rect l="l" t="t" r="r" b="b"/>
              <a:pathLst>
                <a:path w="112864" h="84652">
                  <a:moveTo>
                    <a:pt x="0" y="0"/>
                  </a:moveTo>
                  <a:lnTo>
                    <a:pt x="0" y="84653"/>
                  </a:lnTo>
                  <a:lnTo>
                    <a:pt x="112865" y="84653"/>
                  </a:lnTo>
                </a:path>
              </a:pathLst>
            </a:custGeom>
            <a:noFill/>
            <a:ln w="9525" cap="rnd">
              <a:solidFill>
                <a:schemeClr val="tx2"/>
              </a:solidFill>
              <a:prstDash val="solid"/>
              <a:miter/>
            </a:ln>
          </p:spPr>
          <p:txBody>
            <a:bodyPr rtlCol="0" anchor="ctr"/>
            <a:lstStyle/>
            <a:p>
              <a:endParaRPr lang="de-DE"/>
            </a:p>
          </p:txBody>
        </p:sp>
        <p:sp>
          <p:nvSpPr>
            <p:cNvPr id="48" name="Freihandform: Form 78">
              <a:extLst>
                <a:ext uri="{FF2B5EF4-FFF2-40B4-BE49-F238E27FC236}">
                  <a16:creationId xmlns:a16="http://schemas.microsoft.com/office/drawing/2014/main" id="{911A59B7-1B14-465E-5359-3132DEF0C2E9}"/>
                </a:ext>
              </a:extLst>
            </p:cNvPr>
            <p:cNvSpPr/>
            <p:nvPr/>
          </p:nvSpPr>
          <p:spPr>
            <a:xfrm>
              <a:off x="3679333" y="2931866"/>
              <a:ext cx="112864" cy="84649"/>
            </a:xfrm>
            <a:custGeom>
              <a:avLst/>
              <a:gdLst>
                <a:gd name="connsiteX0" fmla="*/ 0 w 112864"/>
                <a:gd name="connsiteY0" fmla="*/ 84649 h 84649"/>
                <a:gd name="connsiteX1" fmla="*/ 0 w 112864"/>
                <a:gd name="connsiteY1" fmla="*/ 0 h 84649"/>
                <a:gd name="connsiteX2" fmla="*/ 112865 w 112864"/>
                <a:gd name="connsiteY2" fmla="*/ 0 h 84649"/>
              </a:gdLst>
              <a:ahLst/>
              <a:cxnLst>
                <a:cxn ang="0">
                  <a:pos x="connsiteX0" y="connsiteY0"/>
                </a:cxn>
                <a:cxn ang="0">
                  <a:pos x="connsiteX1" y="connsiteY1"/>
                </a:cxn>
                <a:cxn ang="0">
                  <a:pos x="connsiteX2" y="connsiteY2"/>
                </a:cxn>
              </a:cxnLst>
              <a:rect l="l" t="t" r="r" b="b"/>
              <a:pathLst>
                <a:path w="112864" h="84649">
                  <a:moveTo>
                    <a:pt x="0" y="84649"/>
                  </a:moveTo>
                  <a:lnTo>
                    <a:pt x="0" y="0"/>
                  </a:lnTo>
                  <a:lnTo>
                    <a:pt x="112865" y="0"/>
                  </a:lnTo>
                </a:path>
              </a:pathLst>
            </a:custGeom>
            <a:noFill/>
            <a:ln w="9525" cap="rnd">
              <a:solidFill>
                <a:schemeClr val="tx2"/>
              </a:solidFill>
              <a:prstDash val="solid"/>
              <a:miter/>
            </a:ln>
          </p:spPr>
          <p:txBody>
            <a:bodyPr rtlCol="0" anchor="ctr"/>
            <a:lstStyle/>
            <a:p>
              <a:endParaRPr lang="de-DE"/>
            </a:p>
          </p:txBody>
        </p:sp>
        <p:sp>
          <p:nvSpPr>
            <p:cNvPr id="49" name="Freihandform: Form 79">
              <a:extLst>
                <a:ext uri="{FF2B5EF4-FFF2-40B4-BE49-F238E27FC236}">
                  <a16:creationId xmlns:a16="http://schemas.microsoft.com/office/drawing/2014/main" id="{31F4B81C-9188-3271-EF2C-796C34213E75}"/>
                </a:ext>
              </a:extLst>
            </p:cNvPr>
            <p:cNvSpPr/>
            <p:nvPr/>
          </p:nvSpPr>
          <p:spPr>
            <a:xfrm>
              <a:off x="3848632" y="3044731"/>
              <a:ext cx="84649" cy="126975"/>
            </a:xfrm>
            <a:custGeom>
              <a:avLst/>
              <a:gdLst>
                <a:gd name="connsiteX0" fmla="*/ 84649 w 84649"/>
                <a:gd name="connsiteY0" fmla="*/ 0 h 126975"/>
                <a:gd name="connsiteX1" fmla="*/ 84649 w 84649"/>
                <a:gd name="connsiteY1" fmla="*/ 126976 h 126975"/>
                <a:gd name="connsiteX2" fmla="*/ 0 w 84649"/>
                <a:gd name="connsiteY2" fmla="*/ 126976 h 126975"/>
              </a:gdLst>
              <a:ahLst/>
              <a:cxnLst>
                <a:cxn ang="0">
                  <a:pos x="connsiteX0" y="connsiteY0"/>
                </a:cxn>
                <a:cxn ang="0">
                  <a:pos x="connsiteX1" y="connsiteY1"/>
                </a:cxn>
                <a:cxn ang="0">
                  <a:pos x="connsiteX2" y="connsiteY2"/>
                </a:cxn>
              </a:cxnLst>
              <a:rect l="l" t="t" r="r" b="b"/>
              <a:pathLst>
                <a:path w="84649" h="126975">
                  <a:moveTo>
                    <a:pt x="84649" y="0"/>
                  </a:moveTo>
                  <a:lnTo>
                    <a:pt x="84649" y="126976"/>
                  </a:lnTo>
                  <a:lnTo>
                    <a:pt x="0" y="126976"/>
                  </a:lnTo>
                </a:path>
              </a:pathLst>
            </a:custGeom>
            <a:noFill/>
            <a:ln w="9525" cap="rnd">
              <a:solidFill>
                <a:schemeClr val="tx2"/>
              </a:solidFill>
              <a:prstDash val="solid"/>
              <a:miter/>
            </a:ln>
          </p:spPr>
          <p:txBody>
            <a:bodyPr rtlCol="0" anchor="ctr"/>
            <a:lstStyle/>
            <a:p>
              <a:endParaRPr lang="de-DE"/>
            </a:p>
          </p:txBody>
        </p:sp>
        <p:sp>
          <p:nvSpPr>
            <p:cNvPr id="50" name="Freihandform: Form 81">
              <a:extLst>
                <a:ext uri="{FF2B5EF4-FFF2-40B4-BE49-F238E27FC236}">
                  <a16:creationId xmlns:a16="http://schemas.microsoft.com/office/drawing/2014/main" id="{AFACE130-83FE-EC00-3900-86F8B09980FA}"/>
                </a:ext>
              </a:extLst>
            </p:cNvPr>
            <p:cNvSpPr/>
            <p:nvPr/>
          </p:nvSpPr>
          <p:spPr>
            <a:xfrm>
              <a:off x="4017931" y="2550942"/>
              <a:ext cx="84649" cy="126972"/>
            </a:xfrm>
            <a:custGeom>
              <a:avLst/>
              <a:gdLst>
                <a:gd name="connsiteX0" fmla="*/ 0 w 84649"/>
                <a:gd name="connsiteY0" fmla="*/ 126973 h 126972"/>
                <a:gd name="connsiteX1" fmla="*/ 0 w 84649"/>
                <a:gd name="connsiteY1" fmla="*/ 0 h 126972"/>
                <a:gd name="connsiteX2" fmla="*/ 84649 w 84649"/>
                <a:gd name="connsiteY2" fmla="*/ 0 h 126972"/>
              </a:gdLst>
              <a:ahLst/>
              <a:cxnLst>
                <a:cxn ang="0">
                  <a:pos x="connsiteX0" y="connsiteY0"/>
                </a:cxn>
                <a:cxn ang="0">
                  <a:pos x="connsiteX1" y="connsiteY1"/>
                </a:cxn>
                <a:cxn ang="0">
                  <a:pos x="connsiteX2" y="connsiteY2"/>
                </a:cxn>
              </a:cxnLst>
              <a:rect l="l" t="t" r="r" b="b"/>
              <a:pathLst>
                <a:path w="84649" h="126972">
                  <a:moveTo>
                    <a:pt x="0" y="126973"/>
                  </a:moveTo>
                  <a:lnTo>
                    <a:pt x="0" y="0"/>
                  </a:lnTo>
                  <a:lnTo>
                    <a:pt x="84649" y="0"/>
                  </a:lnTo>
                </a:path>
              </a:pathLst>
            </a:custGeom>
            <a:noFill/>
            <a:ln w="9525" cap="rnd">
              <a:solidFill>
                <a:schemeClr val="tx2"/>
              </a:solidFill>
              <a:prstDash val="solid"/>
              <a:miter/>
            </a:ln>
          </p:spPr>
          <p:txBody>
            <a:bodyPr rtlCol="0" anchor="ctr"/>
            <a:lstStyle/>
            <a:p>
              <a:endParaRPr lang="de-DE"/>
            </a:p>
          </p:txBody>
        </p:sp>
        <p:sp>
          <p:nvSpPr>
            <p:cNvPr id="51" name="Freihandform: Form 83">
              <a:extLst>
                <a:ext uri="{FF2B5EF4-FFF2-40B4-BE49-F238E27FC236}">
                  <a16:creationId xmlns:a16="http://schemas.microsoft.com/office/drawing/2014/main" id="{A6DA57DC-0233-0D9D-C79D-0BC2116371BA}"/>
                </a:ext>
              </a:extLst>
            </p:cNvPr>
            <p:cNvSpPr/>
            <p:nvPr/>
          </p:nvSpPr>
          <p:spPr>
            <a:xfrm>
              <a:off x="3848632" y="2550942"/>
              <a:ext cx="84649" cy="126972"/>
            </a:xfrm>
            <a:custGeom>
              <a:avLst/>
              <a:gdLst>
                <a:gd name="connsiteX0" fmla="*/ 84649 w 84649"/>
                <a:gd name="connsiteY0" fmla="*/ 126973 h 126972"/>
                <a:gd name="connsiteX1" fmla="*/ 84649 w 84649"/>
                <a:gd name="connsiteY1" fmla="*/ 0 h 126972"/>
                <a:gd name="connsiteX2" fmla="*/ 0 w 84649"/>
                <a:gd name="connsiteY2" fmla="*/ 0 h 126972"/>
              </a:gdLst>
              <a:ahLst/>
              <a:cxnLst>
                <a:cxn ang="0">
                  <a:pos x="connsiteX0" y="connsiteY0"/>
                </a:cxn>
                <a:cxn ang="0">
                  <a:pos x="connsiteX1" y="connsiteY1"/>
                </a:cxn>
                <a:cxn ang="0">
                  <a:pos x="connsiteX2" y="connsiteY2"/>
                </a:cxn>
              </a:cxnLst>
              <a:rect l="l" t="t" r="r" b="b"/>
              <a:pathLst>
                <a:path w="84649" h="126972">
                  <a:moveTo>
                    <a:pt x="84649" y="126973"/>
                  </a:moveTo>
                  <a:lnTo>
                    <a:pt x="84649" y="0"/>
                  </a:lnTo>
                  <a:lnTo>
                    <a:pt x="0" y="0"/>
                  </a:lnTo>
                </a:path>
              </a:pathLst>
            </a:custGeom>
            <a:noFill/>
            <a:ln w="9525" cap="rnd">
              <a:solidFill>
                <a:schemeClr val="tx2"/>
              </a:solidFill>
              <a:prstDash val="solid"/>
              <a:miter/>
            </a:ln>
          </p:spPr>
          <p:txBody>
            <a:bodyPr rtlCol="0" anchor="ctr"/>
            <a:lstStyle/>
            <a:p>
              <a:endParaRPr lang="de-DE"/>
            </a:p>
          </p:txBody>
        </p:sp>
        <p:sp>
          <p:nvSpPr>
            <p:cNvPr id="52" name="Freihandform: Form 84">
              <a:extLst>
                <a:ext uri="{FF2B5EF4-FFF2-40B4-BE49-F238E27FC236}">
                  <a16:creationId xmlns:a16="http://schemas.microsoft.com/office/drawing/2014/main" id="{7012C964-36BC-DCE6-1356-C7C023D10AF3}"/>
                </a:ext>
              </a:extLst>
            </p:cNvPr>
            <p:cNvSpPr/>
            <p:nvPr/>
          </p:nvSpPr>
          <p:spPr>
            <a:xfrm>
              <a:off x="3651115" y="2847217"/>
              <a:ext cx="141083" cy="313"/>
            </a:xfrm>
            <a:custGeom>
              <a:avLst/>
              <a:gdLst>
                <a:gd name="connsiteX0" fmla="*/ 141083 w 141083"/>
                <a:gd name="connsiteY0" fmla="*/ 0 h 313"/>
                <a:gd name="connsiteX1" fmla="*/ 0 w 141083"/>
                <a:gd name="connsiteY1" fmla="*/ 0 h 313"/>
              </a:gdLst>
              <a:ahLst/>
              <a:cxnLst>
                <a:cxn ang="0">
                  <a:pos x="connsiteX0" y="connsiteY0"/>
                </a:cxn>
                <a:cxn ang="0">
                  <a:pos x="connsiteX1" y="connsiteY1"/>
                </a:cxn>
              </a:cxnLst>
              <a:rect l="l" t="t" r="r" b="b"/>
              <a:pathLst>
                <a:path w="141083" h="313">
                  <a:moveTo>
                    <a:pt x="141083" y="0"/>
                  </a:moveTo>
                  <a:lnTo>
                    <a:pt x="0" y="0"/>
                  </a:lnTo>
                </a:path>
              </a:pathLst>
            </a:custGeom>
            <a:ln w="9525" cap="rnd">
              <a:solidFill>
                <a:schemeClr val="tx2"/>
              </a:solidFill>
              <a:prstDash val="solid"/>
              <a:miter/>
            </a:ln>
          </p:spPr>
          <p:txBody>
            <a:bodyPr rtlCol="0" anchor="ctr"/>
            <a:lstStyle/>
            <a:p>
              <a:endParaRPr lang="de-DE"/>
            </a:p>
          </p:txBody>
        </p:sp>
        <p:sp>
          <p:nvSpPr>
            <p:cNvPr id="53" name="Freihandform: Form 85">
              <a:extLst>
                <a:ext uri="{FF2B5EF4-FFF2-40B4-BE49-F238E27FC236}">
                  <a16:creationId xmlns:a16="http://schemas.microsoft.com/office/drawing/2014/main" id="{C3AAD948-3CFC-926E-6EDE-281F1120F727}"/>
                </a:ext>
              </a:extLst>
            </p:cNvPr>
            <p:cNvSpPr/>
            <p:nvPr/>
          </p:nvSpPr>
          <p:spPr>
            <a:xfrm>
              <a:off x="3792198" y="2677915"/>
              <a:ext cx="366816" cy="366816"/>
            </a:xfrm>
            <a:custGeom>
              <a:avLst/>
              <a:gdLst>
                <a:gd name="connsiteX0" fmla="*/ 338601 w 366816"/>
                <a:gd name="connsiteY0" fmla="*/ 0 h 366816"/>
                <a:gd name="connsiteX1" fmla="*/ 366816 w 366816"/>
                <a:gd name="connsiteY1" fmla="*/ 28215 h 366816"/>
                <a:gd name="connsiteX2" fmla="*/ 366816 w 366816"/>
                <a:gd name="connsiteY2" fmla="*/ 338601 h 366816"/>
                <a:gd name="connsiteX3" fmla="*/ 338601 w 366816"/>
                <a:gd name="connsiteY3" fmla="*/ 366816 h 366816"/>
                <a:gd name="connsiteX4" fmla="*/ 28215 w 366816"/>
                <a:gd name="connsiteY4" fmla="*/ 366816 h 366816"/>
                <a:gd name="connsiteX5" fmla="*/ 0 w 366816"/>
                <a:gd name="connsiteY5" fmla="*/ 338601 h 366816"/>
                <a:gd name="connsiteX6" fmla="*/ 0 w 366816"/>
                <a:gd name="connsiteY6" fmla="*/ 28215 h 366816"/>
                <a:gd name="connsiteX7" fmla="*/ 28215 w 366816"/>
                <a:gd name="connsiteY7" fmla="*/ 0 h 3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6816" h="366816">
                  <a:moveTo>
                    <a:pt x="338601" y="0"/>
                  </a:moveTo>
                  <a:cubicBezTo>
                    <a:pt x="354184" y="0"/>
                    <a:pt x="366816" y="12632"/>
                    <a:pt x="366816" y="28215"/>
                  </a:cubicBezTo>
                  <a:lnTo>
                    <a:pt x="366816" y="338601"/>
                  </a:lnTo>
                  <a:cubicBezTo>
                    <a:pt x="366816" y="354184"/>
                    <a:pt x="354184" y="366816"/>
                    <a:pt x="338601" y="366816"/>
                  </a:cubicBezTo>
                  <a:lnTo>
                    <a:pt x="28215" y="366816"/>
                  </a:lnTo>
                  <a:cubicBezTo>
                    <a:pt x="12632" y="366816"/>
                    <a:pt x="0" y="354184"/>
                    <a:pt x="0" y="338601"/>
                  </a:cubicBezTo>
                  <a:lnTo>
                    <a:pt x="0" y="28215"/>
                  </a:lnTo>
                  <a:cubicBezTo>
                    <a:pt x="0" y="12632"/>
                    <a:pt x="12632" y="0"/>
                    <a:pt x="28215" y="0"/>
                  </a:cubicBezTo>
                  <a:close/>
                </a:path>
              </a:pathLst>
            </a:custGeom>
            <a:noFill/>
            <a:ln w="9525" cap="rnd">
              <a:solidFill>
                <a:schemeClr val="tx2"/>
              </a:solidFill>
              <a:prstDash val="solid"/>
              <a:miter/>
            </a:ln>
          </p:spPr>
          <p:txBody>
            <a:bodyPr rtlCol="0" anchor="ctr"/>
            <a:lstStyle/>
            <a:p>
              <a:endParaRPr lang="de-DE"/>
            </a:p>
          </p:txBody>
        </p:sp>
        <p:grpSp>
          <p:nvGrpSpPr>
            <p:cNvPr id="54" name="Grafik 63">
              <a:extLst>
                <a:ext uri="{FF2B5EF4-FFF2-40B4-BE49-F238E27FC236}">
                  <a16:creationId xmlns:a16="http://schemas.microsoft.com/office/drawing/2014/main" id="{19005D54-B93C-8CD1-9813-69B181CFDB43}"/>
                </a:ext>
              </a:extLst>
            </p:cNvPr>
            <p:cNvGrpSpPr/>
            <p:nvPr/>
          </p:nvGrpSpPr>
          <p:grpSpPr>
            <a:xfrm>
              <a:off x="3875816" y="2760004"/>
              <a:ext cx="199580" cy="202638"/>
              <a:chOff x="3878286" y="2754570"/>
              <a:chExt cx="227215" cy="230698"/>
            </a:xfrm>
            <a:solidFill>
              <a:schemeClr val="accent1"/>
            </a:solidFill>
          </p:grpSpPr>
          <p:sp>
            <p:nvSpPr>
              <p:cNvPr id="200" name="Freihandform: Form 87">
                <a:extLst>
                  <a:ext uri="{FF2B5EF4-FFF2-40B4-BE49-F238E27FC236}">
                    <a16:creationId xmlns:a16="http://schemas.microsoft.com/office/drawing/2014/main" id="{059226CB-A69C-A32F-9AD5-2641B15B6439}"/>
                  </a:ext>
                </a:extLst>
              </p:cNvPr>
              <p:cNvSpPr/>
              <p:nvPr/>
            </p:nvSpPr>
            <p:spPr>
              <a:xfrm>
                <a:off x="3878286" y="2754570"/>
                <a:ext cx="8555" cy="230698"/>
              </a:xfrm>
              <a:custGeom>
                <a:avLst/>
                <a:gdLst>
                  <a:gd name="connsiteX0" fmla="*/ 8556 w 8555"/>
                  <a:gd name="connsiteY0" fmla="*/ 230699 h 230698"/>
                  <a:gd name="connsiteX1" fmla="*/ 0 w 8555"/>
                  <a:gd name="connsiteY1" fmla="*/ 230699 h 230698"/>
                  <a:gd name="connsiteX2" fmla="*/ 0 w 8555"/>
                  <a:gd name="connsiteY2" fmla="*/ 0 h 230698"/>
                  <a:gd name="connsiteX3" fmla="*/ 8556 w 8555"/>
                  <a:gd name="connsiteY3" fmla="*/ 0 h 230698"/>
                  <a:gd name="connsiteX4" fmla="*/ 8556 w 8555"/>
                  <a:gd name="connsiteY4" fmla="*/ 230699 h 230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 h="230698">
                    <a:moveTo>
                      <a:pt x="8556" y="230699"/>
                    </a:moveTo>
                    <a:lnTo>
                      <a:pt x="0" y="230699"/>
                    </a:lnTo>
                    <a:lnTo>
                      <a:pt x="0" y="0"/>
                    </a:lnTo>
                    <a:lnTo>
                      <a:pt x="8556" y="0"/>
                    </a:lnTo>
                    <a:lnTo>
                      <a:pt x="8556" y="230699"/>
                    </a:lnTo>
                    <a:close/>
                  </a:path>
                </a:pathLst>
              </a:custGeom>
              <a:grpFill/>
              <a:ln w="12700" cap="rnd">
                <a:solidFill>
                  <a:schemeClr val="accent1"/>
                </a:solidFill>
                <a:prstDash val="solid"/>
                <a:miter/>
              </a:ln>
            </p:spPr>
            <p:txBody>
              <a:bodyPr rtlCol="0" anchor="ctr"/>
              <a:lstStyle/>
              <a:p>
                <a:endParaRPr lang="de-DE"/>
              </a:p>
            </p:txBody>
          </p:sp>
          <p:sp>
            <p:nvSpPr>
              <p:cNvPr id="201" name="Freihandform: Form 88">
                <a:extLst>
                  <a:ext uri="{FF2B5EF4-FFF2-40B4-BE49-F238E27FC236}">
                    <a16:creationId xmlns:a16="http://schemas.microsoft.com/office/drawing/2014/main" id="{E202975A-5EF5-152E-9FE7-796083F646D5}"/>
                  </a:ext>
                </a:extLst>
              </p:cNvPr>
              <p:cNvSpPr/>
              <p:nvPr/>
            </p:nvSpPr>
            <p:spPr>
              <a:xfrm>
                <a:off x="3928990" y="2754570"/>
                <a:ext cx="176512" cy="230698"/>
              </a:xfrm>
              <a:custGeom>
                <a:avLst/>
                <a:gdLst>
                  <a:gd name="connsiteX0" fmla="*/ 176513 w 176512"/>
                  <a:gd name="connsiteY0" fmla="*/ 8556 h 230698"/>
                  <a:gd name="connsiteX1" fmla="*/ 92525 w 176512"/>
                  <a:gd name="connsiteY1" fmla="*/ 8556 h 230698"/>
                  <a:gd name="connsiteX2" fmla="*/ 92525 w 176512"/>
                  <a:gd name="connsiteY2" fmla="*/ 230699 h 230698"/>
                  <a:gd name="connsiteX3" fmla="*/ 83982 w 176512"/>
                  <a:gd name="connsiteY3" fmla="*/ 230699 h 230698"/>
                  <a:gd name="connsiteX4" fmla="*/ 83982 w 176512"/>
                  <a:gd name="connsiteY4" fmla="*/ 8556 h 230698"/>
                  <a:gd name="connsiteX5" fmla="*/ 0 w 176512"/>
                  <a:gd name="connsiteY5" fmla="*/ 8556 h 230698"/>
                  <a:gd name="connsiteX6" fmla="*/ 0 w 176512"/>
                  <a:gd name="connsiteY6" fmla="*/ 0 h 230698"/>
                  <a:gd name="connsiteX7" fmla="*/ 176513 w 176512"/>
                  <a:gd name="connsiteY7" fmla="*/ 0 h 230698"/>
                  <a:gd name="connsiteX8" fmla="*/ 176513 w 176512"/>
                  <a:gd name="connsiteY8" fmla="*/ 8556 h 23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512" h="230698">
                    <a:moveTo>
                      <a:pt x="176513" y="8556"/>
                    </a:moveTo>
                    <a:lnTo>
                      <a:pt x="92525" y="8556"/>
                    </a:lnTo>
                    <a:lnTo>
                      <a:pt x="92525" y="230699"/>
                    </a:lnTo>
                    <a:lnTo>
                      <a:pt x="83982" y="230699"/>
                    </a:lnTo>
                    <a:lnTo>
                      <a:pt x="83982" y="8556"/>
                    </a:lnTo>
                    <a:lnTo>
                      <a:pt x="0" y="8556"/>
                    </a:lnTo>
                    <a:lnTo>
                      <a:pt x="0" y="0"/>
                    </a:lnTo>
                    <a:lnTo>
                      <a:pt x="176513" y="0"/>
                    </a:lnTo>
                    <a:lnTo>
                      <a:pt x="176513" y="8556"/>
                    </a:lnTo>
                    <a:close/>
                  </a:path>
                </a:pathLst>
              </a:custGeom>
              <a:grpFill/>
              <a:ln w="12700" cap="rnd">
                <a:solidFill>
                  <a:schemeClr val="accent1"/>
                </a:solidFill>
                <a:prstDash val="solid"/>
                <a:miter/>
              </a:ln>
            </p:spPr>
            <p:txBody>
              <a:bodyPr rtlCol="0" anchor="ctr"/>
              <a:lstStyle/>
              <a:p>
                <a:endParaRPr lang="de-DE"/>
              </a:p>
            </p:txBody>
          </p:sp>
        </p:grpSp>
        <p:sp>
          <p:nvSpPr>
            <p:cNvPr id="55" name="Freihandform: Form 65">
              <a:extLst>
                <a:ext uri="{FF2B5EF4-FFF2-40B4-BE49-F238E27FC236}">
                  <a16:creationId xmlns:a16="http://schemas.microsoft.com/office/drawing/2014/main" id="{184C43A0-F731-45CC-E054-B73E03FE1F02}"/>
                </a:ext>
              </a:extLst>
            </p:cNvPr>
            <p:cNvSpPr/>
            <p:nvPr/>
          </p:nvSpPr>
          <p:spPr>
            <a:xfrm>
              <a:off x="4300098" y="280489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61" name="Freihandform: Form 66">
              <a:extLst>
                <a:ext uri="{FF2B5EF4-FFF2-40B4-BE49-F238E27FC236}">
                  <a16:creationId xmlns:a16="http://schemas.microsoft.com/office/drawing/2014/main" id="{F5B145E6-326B-661C-F8FF-57F15B725CBD}"/>
                </a:ext>
              </a:extLst>
            </p:cNvPr>
            <p:cNvSpPr/>
            <p:nvPr/>
          </p:nvSpPr>
          <p:spPr>
            <a:xfrm>
              <a:off x="4229556" y="30165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62" name="Freihandform: Form 67">
              <a:extLst>
                <a:ext uri="{FF2B5EF4-FFF2-40B4-BE49-F238E27FC236}">
                  <a16:creationId xmlns:a16="http://schemas.microsoft.com/office/drawing/2014/main" id="{BFC218E1-BB2F-4880-6F36-36DC9BFE1B6C}"/>
                </a:ext>
              </a:extLst>
            </p:cNvPr>
            <p:cNvSpPr/>
            <p:nvPr/>
          </p:nvSpPr>
          <p:spPr>
            <a:xfrm>
              <a:off x="4102580" y="312938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63" name="Freihandform: Form 68">
              <a:extLst>
                <a:ext uri="{FF2B5EF4-FFF2-40B4-BE49-F238E27FC236}">
                  <a16:creationId xmlns:a16="http://schemas.microsoft.com/office/drawing/2014/main" id="{AA8799D6-0C94-4BE5-943B-47F9B75B6E91}"/>
                </a:ext>
              </a:extLst>
            </p:cNvPr>
            <p:cNvSpPr/>
            <p:nvPr/>
          </p:nvSpPr>
          <p:spPr>
            <a:xfrm>
              <a:off x="4229556" y="259326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2" name="Freihandform: Form 73">
              <a:extLst>
                <a:ext uri="{FF2B5EF4-FFF2-40B4-BE49-F238E27FC236}">
                  <a16:creationId xmlns:a16="http://schemas.microsoft.com/office/drawing/2014/main" id="{F6B534FA-2C08-1DCD-692C-8DF3532B7D02}"/>
                </a:ext>
              </a:extLst>
            </p:cNvPr>
            <p:cNvSpPr/>
            <p:nvPr/>
          </p:nvSpPr>
          <p:spPr>
            <a:xfrm>
              <a:off x="3566465" y="280489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5" name="Freihandform: Form 74">
              <a:extLst>
                <a:ext uri="{FF2B5EF4-FFF2-40B4-BE49-F238E27FC236}">
                  <a16:creationId xmlns:a16="http://schemas.microsoft.com/office/drawing/2014/main" id="{B5BAB1DE-BF45-C7D8-3556-4F3D2792D85B}"/>
                </a:ext>
              </a:extLst>
            </p:cNvPr>
            <p:cNvSpPr/>
            <p:nvPr/>
          </p:nvSpPr>
          <p:spPr>
            <a:xfrm>
              <a:off x="3637007" y="30165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6" name="Freihandform: Form 75">
              <a:extLst>
                <a:ext uri="{FF2B5EF4-FFF2-40B4-BE49-F238E27FC236}">
                  <a16:creationId xmlns:a16="http://schemas.microsoft.com/office/drawing/2014/main" id="{A3FCAA22-078F-F17C-ED27-8AC764A5771A}"/>
                </a:ext>
              </a:extLst>
            </p:cNvPr>
            <p:cNvSpPr/>
            <p:nvPr/>
          </p:nvSpPr>
          <p:spPr>
            <a:xfrm>
              <a:off x="3763979" y="312938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7" name="Freihandform: Form 76">
              <a:extLst>
                <a:ext uri="{FF2B5EF4-FFF2-40B4-BE49-F238E27FC236}">
                  <a16:creationId xmlns:a16="http://schemas.microsoft.com/office/drawing/2014/main" id="{08229589-1EBD-A254-C711-C4CC9D822056}"/>
                </a:ext>
              </a:extLst>
            </p:cNvPr>
            <p:cNvSpPr/>
            <p:nvPr/>
          </p:nvSpPr>
          <p:spPr>
            <a:xfrm>
              <a:off x="3637007" y="259326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8" name="Freihandform: Form 80">
              <a:extLst>
                <a:ext uri="{FF2B5EF4-FFF2-40B4-BE49-F238E27FC236}">
                  <a16:creationId xmlns:a16="http://schemas.microsoft.com/office/drawing/2014/main" id="{4F4D31A7-8AF0-DC67-7F94-BCDCAD1FF270}"/>
                </a:ext>
              </a:extLst>
            </p:cNvPr>
            <p:cNvSpPr/>
            <p:nvPr/>
          </p:nvSpPr>
          <p:spPr>
            <a:xfrm>
              <a:off x="4102580" y="25086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9" name="Freihandform: Form 82">
              <a:extLst>
                <a:ext uri="{FF2B5EF4-FFF2-40B4-BE49-F238E27FC236}">
                  <a16:creationId xmlns:a16="http://schemas.microsoft.com/office/drawing/2014/main" id="{C72783D7-7156-BB36-9549-9FF79E84019C}"/>
                </a:ext>
              </a:extLst>
            </p:cNvPr>
            <p:cNvSpPr/>
            <p:nvPr/>
          </p:nvSpPr>
          <p:spPr>
            <a:xfrm>
              <a:off x="3763979" y="25086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grpSp>
      <p:sp>
        <p:nvSpPr>
          <p:cNvPr id="202" name="Textplatzhalter 14">
            <a:extLst>
              <a:ext uri="{FF2B5EF4-FFF2-40B4-BE49-F238E27FC236}">
                <a16:creationId xmlns:a16="http://schemas.microsoft.com/office/drawing/2014/main" id="{0E37A204-B632-54D0-3CD1-952ABDB8AE5F}"/>
              </a:ext>
            </a:extLst>
          </p:cNvPr>
          <p:cNvSpPr txBox="1">
            <a:spLocks/>
          </p:cNvSpPr>
          <p:nvPr/>
        </p:nvSpPr>
        <p:spPr>
          <a:xfrm>
            <a:off x="4148986" y="2747416"/>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2</a:t>
            </a:r>
          </a:p>
        </p:txBody>
      </p:sp>
      <p:grpSp>
        <p:nvGrpSpPr>
          <p:cNvPr id="203" name="Gruppieren 202">
            <a:extLst>
              <a:ext uri="{FF2B5EF4-FFF2-40B4-BE49-F238E27FC236}">
                <a16:creationId xmlns:a16="http://schemas.microsoft.com/office/drawing/2014/main" id="{C65E1A91-DECF-D5C7-500A-0DDC5737C1D4}"/>
              </a:ext>
            </a:extLst>
          </p:cNvPr>
          <p:cNvGrpSpPr/>
          <p:nvPr/>
        </p:nvGrpSpPr>
        <p:grpSpPr>
          <a:xfrm>
            <a:off x="4521177" y="3044826"/>
            <a:ext cx="519904" cy="478311"/>
            <a:chOff x="10751496" y="2443062"/>
            <a:chExt cx="857526" cy="788923"/>
          </a:xfrm>
        </p:grpSpPr>
        <p:grpSp>
          <p:nvGrpSpPr>
            <p:cNvPr id="204" name="Gruppieren 203">
              <a:extLst>
                <a:ext uri="{FF2B5EF4-FFF2-40B4-BE49-F238E27FC236}">
                  <a16:creationId xmlns:a16="http://schemas.microsoft.com/office/drawing/2014/main" id="{4E09EDF7-B841-DF46-ADE4-AF2605654F05}"/>
                </a:ext>
              </a:extLst>
            </p:cNvPr>
            <p:cNvGrpSpPr/>
            <p:nvPr/>
          </p:nvGrpSpPr>
          <p:grpSpPr>
            <a:xfrm>
              <a:off x="11076576" y="2502173"/>
              <a:ext cx="207345" cy="182949"/>
              <a:chOff x="13155737" y="1102065"/>
              <a:chExt cx="5277707" cy="4656748"/>
            </a:xfrm>
          </p:grpSpPr>
          <p:sp>
            <p:nvSpPr>
              <p:cNvPr id="244" name="Freihandform: Form 150">
                <a:extLst>
                  <a:ext uri="{FF2B5EF4-FFF2-40B4-BE49-F238E27FC236}">
                    <a16:creationId xmlns:a16="http://schemas.microsoft.com/office/drawing/2014/main" id="{8388BB7A-2FBE-7385-0618-790CE977B7E0}"/>
                  </a:ext>
                </a:extLst>
              </p:cNvPr>
              <p:cNvSpPr/>
              <p:nvPr/>
            </p:nvSpPr>
            <p:spPr>
              <a:xfrm>
                <a:off x="13155737" y="1102065"/>
                <a:ext cx="5277707" cy="4656748"/>
              </a:xfrm>
              <a:custGeom>
                <a:avLst/>
                <a:gdLst>
                  <a:gd name="connsiteX0" fmla="*/ 4856083 w 5277707"/>
                  <a:gd name="connsiteY0" fmla="*/ 2586490 h 4656748"/>
                  <a:gd name="connsiteX1" fmla="*/ 4856083 w 5277707"/>
                  <a:gd name="connsiteY1" fmla="*/ 443841 h 4656748"/>
                  <a:gd name="connsiteX2" fmla="*/ 2820591 w 5277707"/>
                  <a:gd name="connsiteY2" fmla="*/ 443841 h 4656748"/>
                  <a:gd name="connsiteX3" fmla="*/ 2638758 w 5277707"/>
                  <a:gd name="connsiteY3" fmla="*/ 678156 h 4656748"/>
                  <a:gd name="connsiteX4" fmla="*/ 2457117 w 5277707"/>
                  <a:gd name="connsiteY4" fmla="*/ 443841 h 4656748"/>
                  <a:gd name="connsiteX5" fmla="*/ 421624 w 5277707"/>
                  <a:gd name="connsiteY5" fmla="*/ 443841 h 4656748"/>
                  <a:gd name="connsiteX6" fmla="*/ 421624 w 5277707"/>
                  <a:gd name="connsiteY6" fmla="*/ 2586490 h 4656748"/>
                  <a:gd name="connsiteX7" fmla="*/ 2638854 w 5277707"/>
                  <a:gd name="connsiteY7" fmla="*/ 4656749 h 4656748"/>
                  <a:gd name="connsiteX8" fmla="*/ 4856083 w 5277707"/>
                  <a:gd name="connsiteY8" fmla="*/ 2586490 h 4656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77707" h="4656748">
                    <a:moveTo>
                      <a:pt x="4856083" y="2586490"/>
                    </a:moveTo>
                    <a:cubicBezTo>
                      <a:pt x="5418249" y="1994892"/>
                      <a:pt x="5418249" y="1035344"/>
                      <a:pt x="4856083" y="443841"/>
                    </a:cubicBezTo>
                    <a:cubicBezTo>
                      <a:pt x="4294013" y="-147947"/>
                      <a:pt x="3382566" y="-147947"/>
                      <a:pt x="2820591" y="443841"/>
                    </a:cubicBezTo>
                    <a:cubicBezTo>
                      <a:pt x="2751344" y="516422"/>
                      <a:pt x="2691051" y="595193"/>
                      <a:pt x="2638758" y="678156"/>
                    </a:cubicBezTo>
                    <a:cubicBezTo>
                      <a:pt x="2586657" y="595193"/>
                      <a:pt x="2526268" y="516517"/>
                      <a:pt x="2457117" y="443841"/>
                    </a:cubicBezTo>
                    <a:cubicBezTo>
                      <a:pt x="1895046" y="-147947"/>
                      <a:pt x="983599" y="-147947"/>
                      <a:pt x="421624" y="443841"/>
                    </a:cubicBezTo>
                    <a:cubicBezTo>
                      <a:pt x="-140541" y="1035344"/>
                      <a:pt x="-140541" y="1994987"/>
                      <a:pt x="421624" y="2586490"/>
                    </a:cubicBezTo>
                    <a:lnTo>
                      <a:pt x="2638854" y="4656749"/>
                    </a:lnTo>
                    <a:lnTo>
                      <a:pt x="4856083" y="2586490"/>
                    </a:lnTo>
                    <a:close/>
                  </a:path>
                </a:pathLst>
              </a:custGeom>
              <a:noFill/>
              <a:ln w="19050" cap="rnd">
                <a:solidFill>
                  <a:schemeClr val="accent1"/>
                </a:solidFill>
                <a:prstDash val="solid"/>
                <a:miter/>
              </a:ln>
            </p:spPr>
            <p:txBody>
              <a:bodyPr rtlCol="0" anchor="ctr"/>
              <a:lstStyle/>
              <a:p>
                <a:endParaRPr lang="de-DE"/>
              </a:p>
            </p:txBody>
          </p:sp>
          <p:sp>
            <p:nvSpPr>
              <p:cNvPr id="245" name="Freihandform: Form 151">
                <a:extLst>
                  <a:ext uri="{FF2B5EF4-FFF2-40B4-BE49-F238E27FC236}">
                    <a16:creationId xmlns:a16="http://schemas.microsoft.com/office/drawing/2014/main" id="{2EAAD817-CFDD-D939-0A76-10801A16F82B}"/>
                  </a:ext>
                </a:extLst>
              </p:cNvPr>
              <p:cNvSpPr/>
              <p:nvPr/>
            </p:nvSpPr>
            <p:spPr>
              <a:xfrm>
                <a:off x="15173656" y="2499073"/>
                <a:ext cx="1862708" cy="1241869"/>
              </a:xfrm>
              <a:custGeom>
                <a:avLst/>
                <a:gdLst>
                  <a:gd name="connsiteX0" fmla="*/ 1862709 w 1862708"/>
                  <a:gd name="connsiteY0" fmla="*/ 0 h 1241869"/>
                  <a:gd name="connsiteX1" fmla="*/ 1241965 w 1862708"/>
                  <a:gd name="connsiteY1" fmla="*/ 620935 h 1241869"/>
                  <a:gd name="connsiteX2" fmla="*/ 620744 w 1862708"/>
                  <a:gd name="connsiteY2" fmla="*/ 1241870 h 1241869"/>
                  <a:gd name="connsiteX3" fmla="*/ 0 w 1862708"/>
                  <a:gd name="connsiteY3" fmla="*/ 620935 h 1241869"/>
                </a:gdLst>
                <a:ahLst/>
                <a:cxnLst>
                  <a:cxn ang="0">
                    <a:pos x="connsiteX0" y="connsiteY0"/>
                  </a:cxn>
                  <a:cxn ang="0">
                    <a:pos x="connsiteX1" y="connsiteY1"/>
                  </a:cxn>
                  <a:cxn ang="0">
                    <a:pos x="connsiteX2" y="connsiteY2"/>
                  </a:cxn>
                  <a:cxn ang="0">
                    <a:pos x="connsiteX3" y="connsiteY3"/>
                  </a:cxn>
                </a:cxnLst>
                <a:rect l="l" t="t" r="r" b="b"/>
                <a:pathLst>
                  <a:path w="1862708" h="1241869">
                    <a:moveTo>
                      <a:pt x="1862709" y="0"/>
                    </a:moveTo>
                    <a:lnTo>
                      <a:pt x="1241965" y="620935"/>
                    </a:lnTo>
                    <a:lnTo>
                      <a:pt x="620744" y="1241870"/>
                    </a:lnTo>
                    <a:lnTo>
                      <a:pt x="0" y="620935"/>
                    </a:lnTo>
                  </a:path>
                </a:pathLst>
              </a:custGeom>
              <a:noFill/>
              <a:ln w="19050" cap="rnd">
                <a:solidFill>
                  <a:schemeClr val="accent1"/>
                </a:solidFill>
                <a:prstDash val="solid"/>
                <a:miter/>
              </a:ln>
            </p:spPr>
            <p:txBody>
              <a:bodyPr rtlCol="0" anchor="ctr"/>
              <a:lstStyle/>
              <a:p>
                <a:endParaRPr lang="de-DE"/>
              </a:p>
            </p:txBody>
          </p:sp>
        </p:grpSp>
        <p:sp>
          <p:nvSpPr>
            <p:cNvPr id="205" name="Freihandform: Form 156">
              <a:extLst>
                <a:ext uri="{FF2B5EF4-FFF2-40B4-BE49-F238E27FC236}">
                  <a16:creationId xmlns:a16="http://schemas.microsoft.com/office/drawing/2014/main" id="{72C02FB5-E7E3-B995-60C3-D7A3575618E2}"/>
                </a:ext>
              </a:extLst>
            </p:cNvPr>
            <p:cNvSpPr/>
            <p:nvPr/>
          </p:nvSpPr>
          <p:spPr>
            <a:xfrm>
              <a:off x="11094510" y="3163382"/>
              <a:ext cx="171497" cy="68603"/>
            </a:xfrm>
            <a:custGeom>
              <a:avLst/>
              <a:gdLst>
                <a:gd name="connsiteX0" fmla="*/ 0 w 833151"/>
                <a:gd name="connsiteY0" fmla="*/ 333280 h 333279"/>
                <a:gd name="connsiteX1" fmla="*/ 0 w 833151"/>
                <a:gd name="connsiteY1" fmla="*/ 0 h 333279"/>
                <a:gd name="connsiteX2" fmla="*/ 833152 w 833151"/>
                <a:gd name="connsiteY2" fmla="*/ 0 h 333279"/>
                <a:gd name="connsiteX3" fmla="*/ 833152 w 833151"/>
                <a:gd name="connsiteY3" fmla="*/ 333280 h 333279"/>
              </a:gdLst>
              <a:ahLst/>
              <a:cxnLst>
                <a:cxn ang="0">
                  <a:pos x="connsiteX0" y="connsiteY0"/>
                </a:cxn>
                <a:cxn ang="0">
                  <a:pos x="connsiteX1" y="connsiteY1"/>
                </a:cxn>
                <a:cxn ang="0">
                  <a:pos x="connsiteX2" y="connsiteY2"/>
                </a:cxn>
                <a:cxn ang="0">
                  <a:pos x="connsiteX3" y="connsiteY3"/>
                </a:cxn>
              </a:cxnLst>
              <a:rect l="l" t="t" r="r" b="b"/>
              <a:pathLst>
                <a:path w="833151" h="333279">
                  <a:moveTo>
                    <a:pt x="0" y="333280"/>
                  </a:moveTo>
                  <a:lnTo>
                    <a:pt x="0" y="0"/>
                  </a:lnTo>
                  <a:lnTo>
                    <a:pt x="833152" y="0"/>
                  </a:lnTo>
                  <a:lnTo>
                    <a:pt x="833152" y="333280"/>
                  </a:lnTo>
                </a:path>
              </a:pathLst>
            </a:custGeom>
            <a:noFill/>
            <a:ln w="9525" cap="rnd">
              <a:solidFill>
                <a:schemeClr val="tx2"/>
              </a:solidFill>
              <a:prstDash val="solid"/>
              <a:round/>
            </a:ln>
          </p:spPr>
          <p:txBody>
            <a:bodyPr rtlCol="0" anchor="ctr"/>
            <a:lstStyle/>
            <a:p>
              <a:endParaRPr lang="de-DE"/>
            </a:p>
          </p:txBody>
        </p:sp>
        <p:sp>
          <p:nvSpPr>
            <p:cNvPr id="206" name="Freihandform: Form 158">
              <a:extLst>
                <a:ext uri="{FF2B5EF4-FFF2-40B4-BE49-F238E27FC236}">
                  <a16:creationId xmlns:a16="http://schemas.microsoft.com/office/drawing/2014/main" id="{FD60A4A4-0A12-ED48-6936-623802B7A99C}"/>
                </a:ext>
              </a:extLst>
            </p:cNvPr>
            <p:cNvSpPr/>
            <p:nvPr/>
          </p:nvSpPr>
          <p:spPr>
            <a:xfrm>
              <a:off x="10802943" y="2614559"/>
              <a:ext cx="171517" cy="617426"/>
            </a:xfrm>
            <a:custGeom>
              <a:avLst/>
              <a:gdLst>
                <a:gd name="connsiteX0" fmla="*/ 0 w 833246"/>
                <a:gd name="connsiteY0" fmla="*/ 2999518 h 2999517"/>
                <a:gd name="connsiteX1" fmla="*/ 0 w 833246"/>
                <a:gd name="connsiteY1" fmla="*/ 0 h 2999517"/>
                <a:gd name="connsiteX2" fmla="*/ 833247 w 833246"/>
                <a:gd name="connsiteY2" fmla="*/ 0 h 2999517"/>
              </a:gdLst>
              <a:ahLst/>
              <a:cxnLst>
                <a:cxn ang="0">
                  <a:pos x="connsiteX0" y="connsiteY0"/>
                </a:cxn>
                <a:cxn ang="0">
                  <a:pos x="connsiteX1" y="connsiteY1"/>
                </a:cxn>
                <a:cxn ang="0">
                  <a:pos x="connsiteX2" y="connsiteY2"/>
                </a:cxn>
              </a:cxnLst>
              <a:rect l="l" t="t" r="r" b="b"/>
              <a:pathLst>
                <a:path w="833246" h="2999517">
                  <a:moveTo>
                    <a:pt x="0" y="2999518"/>
                  </a:moveTo>
                  <a:lnTo>
                    <a:pt x="0" y="0"/>
                  </a:lnTo>
                  <a:lnTo>
                    <a:pt x="833247" y="0"/>
                  </a:lnTo>
                </a:path>
              </a:pathLst>
            </a:custGeom>
            <a:noFill/>
            <a:ln w="9525" cap="rnd">
              <a:solidFill>
                <a:schemeClr val="tx2"/>
              </a:solidFill>
              <a:prstDash val="solid"/>
              <a:round/>
            </a:ln>
          </p:spPr>
          <p:txBody>
            <a:bodyPr rtlCol="0" anchor="ctr"/>
            <a:lstStyle/>
            <a:p>
              <a:endParaRPr lang="de-DE"/>
            </a:p>
          </p:txBody>
        </p:sp>
        <p:sp>
          <p:nvSpPr>
            <p:cNvPr id="207" name="Freihandform: Form 159">
              <a:extLst>
                <a:ext uri="{FF2B5EF4-FFF2-40B4-BE49-F238E27FC236}">
                  <a16:creationId xmlns:a16="http://schemas.microsoft.com/office/drawing/2014/main" id="{B2615773-25B9-D611-A2D9-1EA6426AF5B6}"/>
                </a:ext>
              </a:extLst>
            </p:cNvPr>
            <p:cNvSpPr/>
            <p:nvPr/>
          </p:nvSpPr>
          <p:spPr>
            <a:xfrm>
              <a:off x="11386058" y="2614559"/>
              <a:ext cx="171517" cy="617426"/>
            </a:xfrm>
            <a:custGeom>
              <a:avLst/>
              <a:gdLst>
                <a:gd name="connsiteX0" fmla="*/ 833247 w 833246"/>
                <a:gd name="connsiteY0" fmla="*/ 2999518 h 2999517"/>
                <a:gd name="connsiteX1" fmla="*/ 833247 w 833246"/>
                <a:gd name="connsiteY1" fmla="*/ 0 h 2999517"/>
                <a:gd name="connsiteX2" fmla="*/ 0 w 833246"/>
                <a:gd name="connsiteY2" fmla="*/ 0 h 2999517"/>
              </a:gdLst>
              <a:ahLst/>
              <a:cxnLst>
                <a:cxn ang="0">
                  <a:pos x="connsiteX0" y="connsiteY0"/>
                </a:cxn>
                <a:cxn ang="0">
                  <a:pos x="connsiteX1" y="connsiteY1"/>
                </a:cxn>
                <a:cxn ang="0">
                  <a:pos x="connsiteX2" y="connsiteY2"/>
                </a:cxn>
              </a:cxnLst>
              <a:rect l="l" t="t" r="r" b="b"/>
              <a:pathLst>
                <a:path w="833246" h="2999517">
                  <a:moveTo>
                    <a:pt x="833247" y="2999518"/>
                  </a:moveTo>
                  <a:lnTo>
                    <a:pt x="833247" y="0"/>
                  </a:lnTo>
                  <a:lnTo>
                    <a:pt x="0" y="0"/>
                  </a:lnTo>
                </a:path>
              </a:pathLst>
            </a:custGeom>
            <a:noFill/>
            <a:ln w="9525" cap="rnd">
              <a:solidFill>
                <a:schemeClr val="tx2"/>
              </a:solidFill>
              <a:prstDash val="solid"/>
              <a:round/>
            </a:ln>
          </p:spPr>
          <p:txBody>
            <a:bodyPr rtlCol="0" anchor="ctr"/>
            <a:lstStyle/>
            <a:p>
              <a:endParaRPr lang="de-DE"/>
            </a:p>
          </p:txBody>
        </p:sp>
        <p:sp>
          <p:nvSpPr>
            <p:cNvPr id="208" name="Freihandform: Form 160">
              <a:extLst>
                <a:ext uri="{FF2B5EF4-FFF2-40B4-BE49-F238E27FC236}">
                  <a16:creationId xmlns:a16="http://schemas.microsoft.com/office/drawing/2014/main" id="{4C8D2E69-6943-6D77-A543-40D7879A1E08}"/>
                </a:ext>
              </a:extLst>
            </p:cNvPr>
            <p:cNvSpPr/>
            <p:nvPr/>
          </p:nvSpPr>
          <p:spPr>
            <a:xfrm>
              <a:off x="11043043" y="3060468"/>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09" name="Freihandform: Form 161">
              <a:extLst>
                <a:ext uri="{FF2B5EF4-FFF2-40B4-BE49-F238E27FC236}">
                  <a16:creationId xmlns:a16="http://schemas.microsoft.com/office/drawing/2014/main" id="{5C48684C-F134-AAFE-E1FE-D2E4609BE8E4}"/>
                </a:ext>
              </a:extLst>
            </p:cNvPr>
            <p:cNvSpPr/>
            <p:nvPr/>
          </p:nvSpPr>
          <p:spPr>
            <a:xfrm>
              <a:off x="11043043" y="2957574"/>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10" name="Freihandform: Form 162">
              <a:extLst>
                <a:ext uri="{FF2B5EF4-FFF2-40B4-BE49-F238E27FC236}">
                  <a16:creationId xmlns:a16="http://schemas.microsoft.com/office/drawing/2014/main" id="{3EFB52DA-500A-8942-D1D8-F7402AF2F1FD}"/>
                </a:ext>
              </a:extLst>
            </p:cNvPr>
            <p:cNvSpPr/>
            <p:nvPr/>
          </p:nvSpPr>
          <p:spPr>
            <a:xfrm>
              <a:off x="10871546" y="3129071"/>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12" name="Freihandform: Form 163">
              <a:extLst>
                <a:ext uri="{FF2B5EF4-FFF2-40B4-BE49-F238E27FC236}">
                  <a16:creationId xmlns:a16="http://schemas.microsoft.com/office/drawing/2014/main" id="{132FB55E-D735-0875-1E35-B34F06B9D225}"/>
                </a:ext>
              </a:extLst>
            </p:cNvPr>
            <p:cNvSpPr/>
            <p:nvPr/>
          </p:nvSpPr>
          <p:spPr>
            <a:xfrm>
              <a:off x="11454661" y="3129071"/>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3" name="Freihandform: Form 164">
              <a:extLst>
                <a:ext uri="{FF2B5EF4-FFF2-40B4-BE49-F238E27FC236}">
                  <a16:creationId xmlns:a16="http://schemas.microsoft.com/office/drawing/2014/main" id="{B70A56C2-CA1E-5AA3-330C-C3821222BA6A}"/>
                </a:ext>
              </a:extLst>
            </p:cNvPr>
            <p:cNvSpPr/>
            <p:nvPr/>
          </p:nvSpPr>
          <p:spPr>
            <a:xfrm>
              <a:off x="10871546" y="3026176"/>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14" name="Freihandform: Form 165">
              <a:extLst>
                <a:ext uri="{FF2B5EF4-FFF2-40B4-BE49-F238E27FC236}">
                  <a16:creationId xmlns:a16="http://schemas.microsoft.com/office/drawing/2014/main" id="{ACC8DD3F-C39B-DDBC-EE69-7B74815A1394}"/>
                </a:ext>
              </a:extLst>
            </p:cNvPr>
            <p:cNvSpPr/>
            <p:nvPr/>
          </p:nvSpPr>
          <p:spPr>
            <a:xfrm>
              <a:off x="11454661" y="3026176"/>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5" name="Freihandform: Form 166">
              <a:extLst>
                <a:ext uri="{FF2B5EF4-FFF2-40B4-BE49-F238E27FC236}">
                  <a16:creationId xmlns:a16="http://schemas.microsoft.com/office/drawing/2014/main" id="{B26A447B-513D-4674-2745-97AE06C43A44}"/>
                </a:ext>
              </a:extLst>
            </p:cNvPr>
            <p:cNvSpPr/>
            <p:nvPr/>
          </p:nvSpPr>
          <p:spPr>
            <a:xfrm>
              <a:off x="10871546" y="2923282"/>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16" name="Freihandform: Form 167">
              <a:extLst>
                <a:ext uri="{FF2B5EF4-FFF2-40B4-BE49-F238E27FC236}">
                  <a16:creationId xmlns:a16="http://schemas.microsoft.com/office/drawing/2014/main" id="{DB3A7B58-2C87-F2D4-F1EB-7AF67CC680B3}"/>
                </a:ext>
              </a:extLst>
            </p:cNvPr>
            <p:cNvSpPr/>
            <p:nvPr/>
          </p:nvSpPr>
          <p:spPr>
            <a:xfrm>
              <a:off x="11454661" y="2923282"/>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7" name="Freihandform: Form 168">
              <a:extLst>
                <a:ext uri="{FF2B5EF4-FFF2-40B4-BE49-F238E27FC236}">
                  <a16:creationId xmlns:a16="http://schemas.microsoft.com/office/drawing/2014/main" id="{063C0EFC-F577-0F1F-9A5B-F1EB124BEE9B}"/>
                </a:ext>
              </a:extLst>
            </p:cNvPr>
            <p:cNvSpPr/>
            <p:nvPr/>
          </p:nvSpPr>
          <p:spPr>
            <a:xfrm>
              <a:off x="10871546" y="2820368"/>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38" name="Freihandform: Form 169">
              <a:extLst>
                <a:ext uri="{FF2B5EF4-FFF2-40B4-BE49-F238E27FC236}">
                  <a16:creationId xmlns:a16="http://schemas.microsoft.com/office/drawing/2014/main" id="{B9D1383E-A542-8429-94F4-B1003522A9EF}"/>
                </a:ext>
              </a:extLst>
            </p:cNvPr>
            <p:cNvSpPr/>
            <p:nvPr/>
          </p:nvSpPr>
          <p:spPr>
            <a:xfrm>
              <a:off x="11454661" y="2820368"/>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39" name="Freihandform: Form 170">
              <a:extLst>
                <a:ext uri="{FF2B5EF4-FFF2-40B4-BE49-F238E27FC236}">
                  <a16:creationId xmlns:a16="http://schemas.microsoft.com/office/drawing/2014/main" id="{83B7D329-D827-B7A1-2B22-F5DE325DBAC9}"/>
                </a:ext>
              </a:extLst>
            </p:cNvPr>
            <p:cNvSpPr/>
            <p:nvPr/>
          </p:nvSpPr>
          <p:spPr>
            <a:xfrm>
              <a:off x="10871546" y="2717473"/>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40" name="Freihandform: Form 171">
              <a:extLst>
                <a:ext uri="{FF2B5EF4-FFF2-40B4-BE49-F238E27FC236}">
                  <a16:creationId xmlns:a16="http://schemas.microsoft.com/office/drawing/2014/main" id="{C5D1EB47-4ECC-2344-9F84-2F6EB5E68A62}"/>
                </a:ext>
              </a:extLst>
            </p:cNvPr>
            <p:cNvSpPr/>
            <p:nvPr/>
          </p:nvSpPr>
          <p:spPr>
            <a:xfrm>
              <a:off x="11454661" y="2717473"/>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41" name="Freihandform: Form 172">
              <a:extLst>
                <a:ext uri="{FF2B5EF4-FFF2-40B4-BE49-F238E27FC236}">
                  <a16:creationId xmlns:a16="http://schemas.microsoft.com/office/drawing/2014/main" id="{D772F57C-AD99-41E0-F5B6-21D029CF475D}"/>
                </a:ext>
              </a:extLst>
            </p:cNvPr>
            <p:cNvSpPr/>
            <p:nvPr/>
          </p:nvSpPr>
          <p:spPr>
            <a:xfrm>
              <a:off x="11043043" y="2854679"/>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42" name="Freihandform: Form 173">
              <a:extLst>
                <a:ext uri="{FF2B5EF4-FFF2-40B4-BE49-F238E27FC236}">
                  <a16:creationId xmlns:a16="http://schemas.microsoft.com/office/drawing/2014/main" id="{80CB1074-78AC-AF9B-3405-6EB558BA2CEC}"/>
                </a:ext>
              </a:extLst>
            </p:cNvPr>
            <p:cNvSpPr/>
            <p:nvPr/>
          </p:nvSpPr>
          <p:spPr>
            <a:xfrm>
              <a:off x="11043043" y="2751765"/>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43" name="Freihandform: Form 157">
              <a:extLst>
                <a:ext uri="{FF2B5EF4-FFF2-40B4-BE49-F238E27FC236}">
                  <a16:creationId xmlns:a16="http://schemas.microsoft.com/office/drawing/2014/main" id="{DD19656B-9EB8-966E-A9B8-5582CCEDD4B3}"/>
                </a:ext>
              </a:extLst>
            </p:cNvPr>
            <p:cNvSpPr/>
            <p:nvPr/>
          </p:nvSpPr>
          <p:spPr>
            <a:xfrm>
              <a:off x="10751496" y="2443062"/>
              <a:ext cx="857526" cy="788923"/>
            </a:xfrm>
            <a:custGeom>
              <a:avLst/>
              <a:gdLst>
                <a:gd name="connsiteX0" fmla="*/ 4165949 w 4165949"/>
                <a:gd name="connsiteY0" fmla="*/ 3832669 h 3832669"/>
                <a:gd name="connsiteX1" fmla="*/ 3082766 w 4165949"/>
                <a:gd name="connsiteY1" fmla="*/ 3832669 h 3832669"/>
                <a:gd name="connsiteX2" fmla="*/ 3082766 w 4165949"/>
                <a:gd name="connsiteY2" fmla="*/ 0 h 3832669"/>
                <a:gd name="connsiteX3" fmla="*/ 1083183 w 4165949"/>
                <a:gd name="connsiteY3" fmla="*/ 0 h 3832669"/>
                <a:gd name="connsiteX4" fmla="*/ 1083183 w 4165949"/>
                <a:gd name="connsiteY4" fmla="*/ 3832669 h 3832669"/>
                <a:gd name="connsiteX5" fmla="*/ 0 w 4165949"/>
                <a:gd name="connsiteY5" fmla="*/ 3832669 h 383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5949" h="3832669">
                  <a:moveTo>
                    <a:pt x="4165949" y="3832669"/>
                  </a:moveTo>
                  <a:lnTo>
                    <a:pt x="3082766" y="3832669"/>
                  </a:lnTo>
                  <a:lnTo>
                    <a:pt x="3082766" y="0"/>
                  </a:lnTo>
                  <a:lnTo>
                    <a:pt x="1083183" y="0"/>
                  </a:lnTo>
                  <a:lnTo>
                    <a:pt x="1083183" y="3832669"/>
                  </a:lnTo>
                  <a:lnTo>
                    <a:pt x="0" y="3832669"/>
                  </a:lnTo>
                </a:path>
              </a:pathLst>
            </a:custGeom>
            <a:noFill/>
            <a:ln w="19050" cap="rnd">
              <a:solidFill>
                <a:schemeClr val="accent1"/>
              </a:solidFill>
              <a:prstDash val="solid"/>
              <a:round/>
            </a:ln>
          </p:spPr>
          <p:txBody>
            <a:bodyPr rtlCol="0" anchor="ctr"/>
            <a:lstStyle/>
            <a:p>
              <a:endParaRPr lang="de-DE"/>
            </a:p>
          </p:txBody>
        </p:sp>
      </p:grpSp>
      <p:sp>
        <p:nvSpPr>
          <p:cNvPr id="246" name="Textplatzhalter 14">
            <a:extLst>
              <a:ext uri="{FF2B5EF4-FFF2-40B4-BE49-F238E27FC236}">
                <a16:creationId xmlns:a16="http://schemas.microsoft.com/office/drawing/2014/main" id="{AD44314C-28BC-0FA8-C22D-6E6E9C679E16}"/>
              </a:ext>
            </a:extLst>
          </p:cNvPr>
          <p:cNvSpPr txBox="1">
            <a:spLocks/>
          </p:cNvSpPr>
          <p:nvPr/>
        </p:nvSpPr>
        <p:spPr>
          <a:xfrm>
            <a:off x="9958585" y="2747416"/>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4</a:t>
            </a:r>
          </a:p>
        </p:txBody>
      </p:sp>
      <p:grpSp>
        <p:nvGrpSpPr>
          <p:cNvPr id="247" name="Gruppieren 246">
            <a:extLst>
              <a:ext uri="{FF2B5EF4-FFF2-40B4-BE49-F238E27FC236}">
                <a16:creationId xmlns:a16="http://schemas.microsoft.com/office/drawing/2014/main" id="{C97B5C1A-183A-8172-37B7-67FD5A25E4CC}"/>
              </a:ext>
            </a:extLst>
          </p:cNvPr>
          <p:cNvGrpSpPr/>
          <p:nvPr/>
        </p:nvGrpSpPr>
        <p:grpSpPr>
          <a:xfrm>
            <a:off x="10309590" y="2999263"/>
            <a:ext cx="524094" cy="618470"/>
            <a:chOff x="7384023" y="4080510"/>
            <a:chExt cx="644463" cy="760515"/>
          </a:xfrm>
        </p:grpSpPr>
        <p:sp>
          <p:nvSpPr>
            <p:cNvPr id="248" name="Freihandform: Form 180">
              <a:extLst>
                <a:ext uri="{FF2B5EF4-FFF2-40B4-BE49-F238E27FC236}">
                  <a16:creationId xmlns:a16="http://schemas.microsoft.com/office/drawing/2014/main" id="{2323235C-CF6C-C0AB-A222-97D231705EE3}"/>
                </a:ext>
              </a:extLst>
            </p:cNvPr>
            <p:cNvSpPr/>
            <p:nvPr/>
          </p:nvSpPr>
          <p:spPr>
            <a:xfrm>
              <a:off x="7409799" y="4609014"/>
              <a:ext cx="618687" cy="232011"/>
            </a:xfrm>
            <a:custGeom>
              <a:avLst/>
              <a:gdLst>
                <a:gd name="connsiteX0" fmla="*/ 0 w 10743028"/>
                <a:gd name="connsiteY0" fmla="*/ 2685864 h 4028690"/>
                <a:gd name="connsiteX1" fmla="*/ 1003649 w 10743028"/>
                <a:gd name="connsiteY1" fmla="*/ 2685864 h 4028690"/>
                <a:gd name="connsiteX2" fmla="*/ 1666875 w 10743028"/>
                <a:gd name="connsiteY2" fmla="*/ 2786353 h 4028690"/>
                <a:gd name="connsiteX3" fmla="*/ 5506974 w 10743028"/>
                <a:gd name="connsiteY3" fmla="*/ 3977740 h 4028690"/>
                <a:gd name="connsiteX4" fmla="*/ 6582251 w 10743028"/>
                <a:gd name="connsiteY4" fmla="*/ 3826292 h 4028690"/>
                <a:gd name="connsiteX5" fmla="*/ 10421874 w 10743028"/>
                <a:gd name="connsiteY5" fmla="*/ 1251780 h 4028690"/>
                <a:gd name="connsiteX6" fmla="*/ 10573988 w 10743028"/>
                <a:gd name="connsiteY6" fmla="*/ 225080 h 4028690"/>
                <a:gd name="connsiteX7" fmla="*/ 9729026 w 10743028"/>
                <a:gd name="connsiteY7" fmla="*/ 81157 h 4028690"/>
                <a:gd name="connsiteX8" fmla="*/ 8040434 w 10743028"/>
                <a:gd name="connsiteY8" fmla="*/ 981175 h 402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3028" h="4028690">
                  <a:moveTo>
                    <a:pt x="0" y="2685864"/>
                  </a:moveTo>
                  <a:lnTo>
                    <a:pt x="1003649" y="2685864"/>
                  </a:lnTo>
                  <a:cubicBezTo>
                    <a:pt x="1228535" y="2685864"/>
                    <a:pt x="1452086" y="2719773"/>
                    <a:pt x="1666875" y="2786353"/>
                  </a:cubicBezTo>
                  <a:lnTo>
                    <a:pt x="5506974" y="3977740"/>
                  </a:lnTo>
                  <a:cubicBezTo>
                    <a:pt x="5870734" y="4080896"/>
                    <a:pt x="6261164" y="4025936"/>
                    <a:pt x="6582251" y="3826292"/>
                  </a:cubicBezTo>
                  <a:lnTo>
                    <a:pt x="10421874" y="1251780"/>
                  </a:lnTo>
                  <a:cubicBezTo>
                    <a:pt x="10771346" y="1034610"/>
                    <a:pt x="10856119" y="551311"/>
                    <a:pt x="10573988" y="225080"/>
                  </a:cubicBezTo>
                  <a:cubicBezTo>
                    <a:pt x="10366629" y="-14759"/>
                    <a:pt x="10011347" y="-63242"/>
                    <a:pt x="9729026" y="81157"/>
                  </a:cubicBezTo>
                  <a:lnTo>
                    <a:pt x="8040434" y="981175"/>
                  </a:lnTo>
                </a:path>
              </a:pathLst>
            </a:custGeom>
            <a:noFill/>
            <a:ln w="9525" cap="rnd">
              <a:solidFill>
                <a:schemeClr val="tx2"/>
              </a:solidFill>
              <a:prstDash val="solid"/>
              <a:miter/>
            </a:ln>
          </p:spPr>
          <p:txBody>
            <a:bodyPr rtlCol="0" anchor="ctr"/>
            <a:lstStyle/>
            <a:p>
              <a:endParaRPr lang="de-DE"/>
            </a:p>
          </p:txBody>
        </p:sp>
        <p:sp>
          <p:nvSpPr>
            <p:cNvPr id="249" name="Freihandform: Form 181">
              <a:extLst>
                <a:ext uri="{FF2B5EF4-FFF2-40B4-BE49-F238E27FC236}">
                  <a16:creationId xmlns:a16="http://schemas.microsoft.com/office/drawing/2014/main" id="{FDC0108E-51A6-F85E-AA18-CEA744EE539A}"/>
                </a:ext>
              </a:extLst>
            </p:cNvPr>
            <p:cNvSpPr/>
            <p:nvPr/>
          </p:nvSpPr>
          <p:spPr>
            <a:xfrm>
              <a:off x="7384023" y="4583244"/>
              <a:ext cx="489792" cy="128891"/>
            </a:xfrm>
            <a:custGeom>
              <a:avLst/>
              <a:gdLst>
                <a:gd name="connsiteX0" fmla="*/ 4476274 w 8504867"/>
                <a:gd name="connsiteY0" fmla="*/ 2238089 h 2238089"/>
                <a:gd name="connsiteX1" fmla="*/ 7795451 w 8504867"/>
                <a:gd name="connsiteY1" fmla="*/ 2238089 h 2238089"/>
                <a:gd name="connsiteX2" fmla="*/ 8503920 w 8504867"/>
                <a:gd name="connsiteY2" fmla="*/ 1602772 h 2238089"/>
                <a:gd name="connsiteX3" fmla="*/ 7833455 w 8504867"/>
                <a:gd name="connsiteY3" fmla="*/ 895255 h 2238089"/>
                <a:gd name="connsiteX4" fmla="*/ 5554314 w 8504867"/>
                <a:gd name="connsiteY4" fmla="*/ 895255 h 2238089"/>
                <a:gd name="connsiteX5" fmla="*/ 4942618 w 8504867"/>
                <a:gd name="connsiteY5" fmla="*/ 652177 h 2238089"/>
                <a:gd name="connsiteX6" fmla="*/ 3133344 w 8504867"/>
                <a:gd name="connsiteY6" fmla="*/ 0 h 2238089"/>
                <a:gd name="connsiteX7" fmla="*/ 1753362 w 8504867"/>
                <a:gd name="connsiteY7" fmla="*/ 340805 h 2238089"/>
                <a:gd name="connsiteX8" fmla="*/ 1331595 w 8504867"/>
                <a:gd name="connsiteY8" fmla="*/ 447580 h 2238089"/>
                <a:gd name="connsiteX9" fmla="*/ 0 w 8504867"/>
                <a:gd name="connsiteY9" fmla="*/ 447580 h 223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4867" h="2238089">
                  <a:moveTo>
                    <a:pt x="4476274" y="2238089"/>
                  </a:moveTo>
                  <a:lnTo>
                    <a:pt x="7795451" y="2238089"/>
                  </a:lnTo>
                  <a:cubicBezTo>
                    <a:pt x="8159020" y="2238089"/>
                    <a:pt x="8484965" y="1965865"/>
                    <a:pt x="8503920" y="1602772"/>
                  </a:cubicBezTo>
                  <a:cubicBezTo>
                    <a:pt x="8524208" y="1215581"/>
                    <a:pt x="8216170" y="895255"/>
                    <a:pt x="7833455" y="895255"/>
                  </a:cubicBezTo>
                  <a:lnTo>
                    <a:pt x="5554314" y="895255"/>
                  </a:lnTo>
                  <a:cubicBezTo>
                    <a:pt x="5326666" y="895255"/>
                    <a:pt x="5105591" y="811149"/>
                    <a:pt x="4942618" y="652177"/>
                  </a:cubicBezTo>
                  <a:cubicBezTo>
                    <a:pt x="4537996" y="257461"/>
                    <a:pt x="3881247" y="0"/>
                    <a:pt x="3133344" y="0"/>
                  </a:cubicBezTo>
                  <a:cubicBezTo>
                    <a:pt x="2608898" y="0"/>
                    <a:pt x="2131981" y="128588"/>
                    <a:pt x="1753362" y="340805"/>
                  </a:cubicBezTo>
                  <a:cubicBezTo>
                    <a:pt x="1624775" y="412909"/>
                    <a:pt x="1479042" y="447580"/>
                    <a:pt x="1331595" y="447580"/>
                  </a:cubicBezTo>
                  <a:lnTo>
                    <a:pt x="0" y="447580"/>
                  </a:lnTo>
                </a:path>
              </a:pathLst>
            </a:custGeom>
            <a:noFill/>
            <a:ln w="9525" cap="rnd">
              <a:solidFill>
                <a:schemeClr val="tx2"/>
              </a:solidFill>
              <a:prstDash val="solid"/>
              <a:miter/>
            </a:ln>
          </p:spPr>
          <p:txBody>
            <a:bodyPr rtlCol="0" anchor="ctr"/>
            <a:lstStyle/>
            <a:p>
              <a:endParaRPr lang="de-DE"/>
            </a:p>
          </p:txBody>
        </p:sp>
        <p:grpSp>
          <p:nvGrpSpPr>
            <p:cNvPr id="250" name="Gruppieren 249">
              <a:extLst>
                <a:ext uri="{FF2B5EF4-FFF2-40B4-BE49-F238E27FC236}">
                  <a16:creationId xmlns:a16="http://schemas.microsoft.com/office/drawing/2014/main" id="{781105AE-B048-FF4E-025F-D5E24B7BEDDC}"/>
                </a:ext>
              </a:extLst>
            </p:cNvPr>
            <p:cNvGrpSpPr/>
            <p:nvPr/>
          </p:nvGrpSpPr>
          <p:grpSpPr>
            <a:xfrm>
              <a:off x="7599449" y="4080510"/>
              <a:ext cx="405602" cy="476142"/>
              <a:chOff x="355659" y="-3379803"/>
              <a:chExt cx="2535932" cy="2976970"/>
            </a:xfrm>
          </p:grpSpPr>
          <p:grpSp>
            <p:nvGrpSpPr>
              <p:cNvPr id="251" name="Grafik 11">
                <a:extLst>
                  <a:ext uri="{FF2B5EF4-FFF2-40B4-BE49-F238E27FC236}">
                    <a16:creationId xmlns:a16="http://schemas.microsoft.com/office/drawing/2014/main" id="{D7856354-E7FF-1A17-DA9B-4584DD60C873}"/>
                  </a:ext>
                </a:extLst>
              </p:cNvPr>
              <p:cNvGrpSpPr/>
              <p:nvPr/>
            </p:nvGrpSpPr>
            <p:grpSpPr>
              <a:xfrm>
                <a:off x="355659" y="-3379803"/>
                <a:ext cx="2535932" cy="1901950"/>
                <a:chOff x="1403853" y="-1643198"/>
                <a:chExt cx="438149" cy="328612"/>
              </a:xfrm>
            </p:grpSpPr>
            <p:sp>
              <p:nvSpPr>
                <p:cNvPr id="260" name="Freihandform: Form 15">
                  <a:extLst>
                    <a:ext uri="{FF2B5EF4-FFF2-40B4-BE49-F238E27FC236}">
                      <a16:creationId xmlns:a16="http://schemas.microsoft.com/office/drawing/2014/main" id="{257B8029-2668-EFC8-FEED-22977B2155FB}"/>
                    </a:ext>
                  </a:extLst>
                </p:cNvPr>
                <p:cNvSpPr/>
                <p:nvPr/>
              </p:nvSpPr>
              <p:spPr>
                <a:xfrm>
                  <a:off x="1713415" y="-1613848"/>
                  <a:ext cx="19050" cy="32995"/>
                </a:xfrm>
                <a:custGeom>
                  <a:avLst/>
                  <a:gdLst>
                    <a:gd name="connsiteX0" fmla="*/ 0 w 19050"/>
                    <a:gd name="connsiteY0" fmla="*/ 32996 h 32995"/>
                    <a:gd name="connsiteX1" fmla="*/ 19050 w 19050"/>
                    <a:gd name="connsiteY1" fmla="*/ 0 h 32995"/>
                  </a:gdLst>
                  <a:ahLst/>
                  <a:cxnLst>
                    <a:cxn ang="0">
                      <a:pos x="connsiteX0" y="connsiteY0"/>
                    </a:cxn>
                    <a:cxn ang="0">
                      <a:pos x="connsiteX1" y="connsiteY1"/>
                    </a:cxn>
                  </a:cxnLst>
                  <a:rect l="l" t="t" r="r" b="b"/>
                  <a:pathLst>
                    <a:path w="19050" h="32995">
                      <a:moveTo>
                        <a:pt x="0" y="32996"/>
                      </a:moveTo>
                      <a:lnTo>
                        <a:pt x="19050" y="0"/>
                      </a:lnTo>
                    </a:path>
                  </a:pathLst>
                </a:custGeom>
                <a:ln w="15875" cap="rnd">
                  <a:solidFill>
                    <a:schemeClr val="accent1"/>
                  </a:solidFill>
                  <a:prstDash val="solid"/>
                  <a:miter/>
                </a:ln>
              </p:spPr>
              <p:txBody>
                <a:bodyPr rtlCol="0" anchor="ctr"/>
                <a:lstStyle/>
                <a:p>
                  <a:endParaRPr lang="de-DE"/>
                </a:p>
              </p:txBody>
            </p:sp>
            <p:sp>
              <p:nvSpPr>
                <p:cNvPr id="261" name="Freihandform: Form 16">
                  <a:extLst>
                    <a:ext uri="{FF2B5EF4-FFF2-40B4-BE49-F238E27FC236}">
                      <a16:creationId xmlns:a16="http://schemas.microsoft.com/office/drawing/2014/main" id="{51570950-920A-2B76-1578-0A6E88D87898}"/>
                    </a:ext>
                  </a:extLst>
                </p:cNvPr>
                <p:cNvSpPr/>
                <p:nvPr/>
              </p:nvSpPr>
              <p:spPr>
                <a:xfrm>
                  <a:off x="1433203" y="-1333636"/>
                  <a:ext cx="32995" cy="19050"/>
                </a:xfrm>
                <a:custGeom>
                  <a:avLst/>
                  <a:gdLst>
                    <a:gd name="connsiteX0" fmla="*/ 0 w 32995"/>
                    <a:gd name="connsiteY0" fmla="*/ 19050 h 19050"/>
                    <a:gd name="connsiteX1" fmla="*/ 32996 w 32995"/>
                    <a:gd name="connsiteY1" fmla="*/ 0 h 19050"/>
                  </a:gdLst>
                  <a:ahLst/>
                  <a:cxnLst>
                    <a:cxn ang="0">
                      <a:pos x="connsiteX0" y="connsiteY0"/>
                    </a:cxn>
                    <a:cxn ang="0">
                      <a:pos x="connsiteX1" y="connsiteY1"/>
                    </a:cxn>
                  </a:cxnLst>
                  <a:rect l="l" t="t" r="r" b="b"/>
                  <a:pathLst>
                    <a:path w="32995" h="19050">
                      <a:moveTo>
                        <a:pt x="0" y="19050"/>
                      </a:moveTo>
                      <a:lnTo>
                        <a:pt x="32996" y="0"/>
                      </a:lnTo>
                    </a:path>
                  </a:pathLst>
                </a:custGeom>
                <a:ln w="15875" cap="rnd">
                  <a:solidFill>
                    <a:schemeClr val="accent1"/>
                  </a:solidFill>
                  <a:prstDash val="solid"/>
                  <a:miter/>
                </a:ln>
              </p:spPr>
              <p:txBody>
                <a:bodyPr rtlCol="0" anchor="ctr"/>
                <a:lstStyle/>
                <a:p>
                  <a:endParaRPr lang="de-DE"/>
                </a:p>
              </p:txBody>
            </p:sp>
            <p:sp>
              <p:nvSpPr>
                <p:cNvPr id="262" name="Freihandform: Form 17">
                  <a:extLst>
                    <a:ext uri="{FF2B5EF4-FFF2-40B4-BE49-F238E27FC236}">
                      <a16:creationId xmlns:a16="http://schemas.microsoft.com/office/drawing/2014/main" id="{090BD51B-34DC-E572-446C-BB1524A96D10}"/>
                    </a:ext>
                  </a:extLst>
                </p:cNvPr>
                <p:cNvSpPr/>
                <p:nvPr/>
              </p:nvSpPr>
              <p:spPr>
                <a:xfrm>
                  <a:off x="1779657" y="-1533661"/>
                  <a:ext cx="32995" cy="19050"/>
                </a:xfrm>
                <a:custGeom>
                  <a:avLst/>
                  <a:gdLst>
                    <a:gd name="connsiteX0" fmla="*/ 0 w 32995"/>
                    <a:gd name="connsiteY0" fmla="*/ 19050 h 19050"/>
                    <a:gd name="connsiteX1" fmla="*/ 32996 w 32995"/>
                    <a:gd name="connsiteY1" fmla="*/ 0 h 19050"/>
                  </a:gdLst>
                  <a:ahLst/>
                  <a:cxnLst>
                    <a:cxn ang="0">
                      <a:pos x="connsiteX0" y="connsiteY0"/>
                    </a:cxn>
                    <a:cxn ang="0">
                      <a:pos x="connsiteX1" y="connsiteY1"/>
                    </a:cxn>
                  </a:cxnLst>
                  <a:rect l="l" t="t" r="r" b="b"/>
                  <a:pathLst>
                    <a:path w="32995" h="19050">
                      <a:moveTo>
                        <a:pt x="0" y="19050"/>
                      </a:moveTo>
                      <a:lnTo>
                        <a:pt x="32996" y="0"/>
                      </a:lnTo>
                    </a:path>
                  </a:pathLst>
                </a:custGeom>
                <a:ln w="15875" cap="rnd">
                  <a:solidFill>
                    <a:schemeClr val="accent1"/>
                  </a:solidFill>
                  <a:prstDash val="solid"/>
                  <a:miter/>
                </a:ln>
              </p:spPr>
              <p:txBody>
                <a:bodyPr rtlCol="0" anchor="ctr"/>
                <a:lstStyle/>
                <a:p>
                  <a:endParaRPr lang="de-DE"/>
                </a:p>
              </p:txBody>
            </p:sp>
            <p:sp>
              <p:nvSpPr>
                <p:cNvPr id="263" name="Freihandform: Form 18">
                  <a:extLst>
                    <a:ext uri="{FF2B5EF4-FFF2-40B4-BE49-F238E27FC236}">
                      <a16:creationId xmlns:a16="http://schemas.microsoft.com/office/drawing/2014/main" id="{FD660F59-2A88-79B4-D56C-9BB514CDD4F0}"/>
                    </a:ext>
                  </a:extLst>
                </p:cNvPr>
                <p:cNvSpPr/>
                <p:nvPr/>
              </p:nvSpPr>
              <p:spPr>
                <a:xfrm>
                  <a:off x="1403853" y="-1424123"/>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5875" cap="rnd">
                  <a:solidFill>
                    <a:schemeClr val="accent1"/>
                  </a:solidFill>
                  <a:prstDash val="solid"/>
                  <a:miter/>
                </a:ln>
              </p:spPr>
              <p:txBody>
                <a:bodyPr rtlCol="0" anchor="ctr"/>
                <a:lstStyle/>
                <a:p>
                  <a:endParaRPr lang="de-DE"/>
                </a:p>
              </p:txBody>
            </p:sp>
            <p:sp>
              <p:nvSpPr>
                <p:cNvPr id="264" name="Freihandform: Form 19">
                  <a:extLst>
                    <a:ext uri="{FF2B5EF4-FFF2-40B4-BE49-F238E27FC236}">
                      <a16:creationId xmlns:a16="http://schemas.microsoft.com/office/drawing/2014/main" id="{550E9837-68AF-3A3B-C7F3-C05023AF913C}"/>
                    </a:ext>
                  </a:extLst>
                </p:cNvPr>
                <p:cNvSpPr/>
                <p:nvPr/>
              </p:nvSpPr>
              <p:spPr>
                <a:xfrm>
                  <a:off x="1803903" y="-1424123"/>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5875" cap="rnd">
                  <a:solidFill>
                    <a:schemeClr val="accent1"/>
                  </a:solidFill>
                  <a:prstDash val="solid"/>
                  <a:miter/>
                </a:ln>
              </p:spPr>
              <p:txBody>
                <a:bodyPr rtlCol="0" anchor="ctr"/>
                <a:lstStyle/>
                <a:p>
                  <a:endParaRPr lang="de-DE"/>
                </a:p>
              </p:txBody>
            </p:sp>
            <p:sp>
              <p:nvSpPr>
                <p:cNvPr id="265" name="Freihandform: Form 20">
                  <a:extLst>
                    <a:ext uri="{FF2B5EF4-FFF2-40B4-BE49-F238E27FC236}">
                      <a16:creationId xmlns:a16="http://schemas.microsoft.com/office/drawing/2014/main" id="{F616AFDA-FB0B-5726-6CF7-A0DF45EDC566}"/>
                    </a:ext>
                  </a:extLst>
                </p:cNvPr>
                <p:cNvSpPr/>
                <p:nvPr/>
              </p:nvSpPr>
              <p:spPr>
                <a:xfrm>
                  <a:off x="1433203" y="-1533661"/>
                  <a:ext cx="32995" cy="19050"/>
                </a:xfrm>
                <a:custGeom>
                  <a:avLst/>
                  <a:gdLst>
                    <a:gd name="connsiteX0" fmla="*/ 0 w 32995"/>
                    <a:gd name="connsiteY0" fmla="*/ 0 h 19050"/>
                    <a:gd name="connsiteX1" fmla="*/ 32996 w 32995"/>
                    <a:gd name="connsiteY1" fmla="*/ 19050 h 19050"/>
                  </a:gdLst>
                  <a:ahLst/>
                  <a:cxnLst>
                    <a:cxn ang="0">
                      <a:pos x="connsiteX0" y="connsiteY0"/>
                    </a:cxn>
                    <a:cxn ang="0">
                      <a:pos x="connsiteX1" y="connsiteY1"/>
                    </a:cxn>
                  </a:cxnLst>
                  <a:rect l="l" t="t" r="r" b="b"/>
                  <a:pathLst>
                    <a:path w="32995" h="19050">
                      <a:moveTo>
                        <a:pt x="0" y="0"/>
                      </a:moveTo>
                      <a:lnTo>
                        <a:pt x="32996" y="19050"/>
                      </a:lnTo>
                    </a:path>
                  </a:pathLst>
                </a:custGeom>
                <a:ln w="15875" cap="rnd">
                  <a:solidFill>
                    <a:schemeClr val="accent1"/>
                  </a:solidFill>
                  <a:prstDash val="solid"/>
                  <a:miter/>
                </a:ln>
              </p:spPr>
              <p:txBody>
                <a:bodyPr rtlCol="0" anchor="ctr"/>
                <a:lstStyle/>
                <a:p>
                  <a:endParaRPr lang="de-DE"/>
                </a:p>
              </p:txBody>
            </p:sp>
            <p:sp>
              <p:nvSpPr>
                <p:cNvPr id="266" name="Freihandform: Form 21">
                  <a:extLst>
                    <a:ext uri="{FF2B5EF4-FFF2-40B4-BE49-F238E27FC236}">
                      <a16:creationId xmlns:a16="http://schemas.microsoft.com/office/drawing/2014/main" id="{721A345C-9823-E35D-EF15-8D145FCC8493}"/>
                    </a:ext>
                  </a:extLst>
                </p:cNvPr>
                <p:cNvSpPr/>
                <p:nvPr/>
              </p:nvSpPr>
              <p:spPr>
                <a:xfrm>
                  <a:off x="1779657" y="-1333636"/>
                  <a:ext cx="32995" cy="19050"/>
                </a:xfrm>
                <a:custGeom>
                  <a:avLst/>
                  <a:gdLst>
                    <a:gd name="connsiteX0" fmla="*/ 0 w 32995"/>
                    <a:gd name="connsiteY0" fmla="*/ 0 h 19050"/>
                    <a:gd name="connsiteX1" fmla="*/ 32996 w 32995"/>
                    <a:gd name="connsiteY1" fmla="*/ 19050 h 19050"/>
                  </a:gdLst>
                  <a:ahLst/>
                  <a:cxnLst>
                    <a:cxn ang="0">
                      <a:pos x="connsiteX0" y="connsiteY0"/>
                    </a:cxn>
                    <a:cxn ang="0">
                      <a:pos x="connsiteX1" y="connsiteY1"/>
                    </a:cxn>
                  </a:cxnLst>
                  <a:rect l="l" t="t" r="r" b="b"/>
                  <a:pathLst>
                    <a:path w="32995" h="19050">
                      <a:moveTo>
                        <a:pt x="0" y="0"/>
                      </a:moveTo>
                      <a:lnTo>
                        <a:pt x="32996" y="19050"/>
                      </a:lnTo>
                    </a:path>
                  </a:pathLst>
                </a:custGeom>
                <a:ln w="15875" cap="rnd">
                  <a:solidFill>
                    <a:schemeClr val="accent1"/>
                  </a:solidFill>
                  <a:prstDash val="solid"/>
                  <a:miter/>
                </a:ln>
              </p:spPr>
              <p:txBody>
                <a:bodyPr rtlCol="0" anchor="ctr"/>
                <a:lstStyle/>
                <a:p>
                  <a:endParaRPr lang="de-DE"/>
                </a:p>
              </p:txBody>
            </p:sp>
            <p:sp>
              <p:nvSpPr>
                <p:cNvPr id="267" name="Freihandform: Form 22">
                  <a:extLst>
                    <a:ext uri="{FF2B5EF4-FFF2-40B4-BE49-F238E27FC236}">
                      <a16:creationId xmlns:a16="http://schemas.microsoft.com/office/drawing/2014/main" id="{C0EB1BFF-9FEB-E720-1FA1-F1CAE0D43983}"/>
                    </a:ext>
                  </a:extLst>
                </p:cNvPr>
                <p:cNvSpPr/>
                <p:nvPr/>
              </p:nvSpPr>
              <p:spPr>
                <a:xfrm>
                  <a:off x="1513390" y="-1613848"/>
                  <a:ext cx="19050" cy="32995"/>
                </a:xfrm>
                <a:custGeom>
                  <a:avLst/>
                  <a:gdLst>
                    <a:gd name="connsiteX0" fmla="*/ 0 w 19050"/>
                    <a:gd name="connsiteY0" fmla="*/ 0 h 32995"/>
                    <a:gd name="connsiteX1" fmla="*/ 19050 w 19050"/>
                    <a:gd name="connsiteY1" fmla="*/ 32996 h 32995"/>
                  </a:gdLst>
                  <a:ahLst/>
                  <a:cxnLst>
                    <a:cxn ang="0">
                      <a:pos x="connsiteX0" y="connsiteY0"/>
                    </a:cxn>
                    <a:cxn ang="0">
                      <a:pos x="connsiteX1" y="connsiteY1"/>
                    </a:cxn>
                  </a:cxnLst>
                  <a:rect l="l" t="t" r="r" b="b"/>
                  <a:pathLst>
                    <a:path w="19050" h="32995">
                      <a:moveTo>
                        <a:pt x="0" y="0"/>
                      </a:moveTo>
                      <a:lnTo>
                        <a:pt x="19050" y="32996"/>
                      </a:lnTo>
                    </a:path>
                  </a:pathLst>
                </a:custGeom>
                <a:ln w="15875" cap="rnd">
                  <a:solidFill>
                    <a:schemeClr val="accent1"/>
                  </a:solidFill>
                  <a:prstDash val="solid"/>
                  <a:miter/>
                </a:ln>
              </p:spPr>
              <p:txBody>
                <a:bodyPr rtlCol="0" anchor="ctr"/>
                <a:lstStyle/>
                <a:p>
                  <a:endParaRPr lang="de-DE"/>
                </a:p>
              </p:txBody>
            </p:sp>
            <p:sp>
              <p:nvSpPr>
                <p:cNvPr id="268" name="Freihandform: Form 23">
                  <a:extLst>
                    <a:ext uri="{FF2B5EF4-FFF2-40B4-BE49-F238E27FC236}">
                      <a16:creationId xmlns:a16="http://schemas.microsoft.com/office/drawing/2014/main" id="{1B595FEF-BBBD-E0EF-87A0-B3591D0C0E66}"/>
                    </a:ext>
                  </a:extLst>
                </p:cNvPr>
                <p:cNvSpPr/>
                <p:nvPr/>
              </p:nvSpPr>
              <p:spPr>
                <a:xfrm>
                  <a:off x="1622928" y="-1643198"/>
                  <a:ext cx="9525" cy="38100"/>
                </a:xfrm>
                <a:custGeom>
                  <a:avLst/>
                  <a:gdLst>
                    <a:gd name="connsiteX0" fmla="*/ 0 w 9525"/>
                    <a:gd name="connsiteY0" fmla="*/ 0 h 38100"/>
                    <a:gd name="connsiteX1" fmla="*/ 0 w 9525"/>
                    <a:gd name="connsiteY1" fmla="*/ 38100 h 38100"/>
                  </a:gdLst>
                  <a:ahLst/>
                  <a:cxnLst>
                    <a:cxn ang="0">
                      <a:pos x="connsiteX0" y="connsiteY0"/>
                    </a:cxn>
                    <a:cxn ang="0">
                      <a:pos x="connsiteX1" y="connsiteY1"/>
                    </a:cxn>
                  </a:cxnLst>
                  <a:rect l="l" t="t" r="r" b="b"/>
                  <a:pathLst>
                    <a:path w="9525" h="38100">
                      <a:moveTo>
                        <a:pt x="0" y="0"/>
                      </a:moveTo>
                      <a:lnTo>
                        <a:pt x="0" y="38100"/>
                      </a:lnTo>
                    </a:path>
                  </a:pathLst>
                </a:custGeom>
                <a:ln w="15875" cap="rnd">
                  <a:solidFill>
                    <a:schemeClr val="accent1"/>
                  </a:solidFill>
                  <a:prstDash val="solid"/>
                  <a:miter/>
                </a:ln>
              </p:spPr>
              <p:txBody>
                <a:bodyPr rtlCol="0" anchor="ctr"/>
                <a:lstStyle/>
                <a:p>
                  <a:endParaRPr lang="de-DE"/>
                </a:p>
              </p:txBody>
            </p:sp>
          </p:grpSp>
          <p:grpSp>
            <p:nvGrpSpPr>
              <p:cNvPr id="252" name="Gruppieren 251">
                <a:extLst>
                  <a:ext uri="{FF2B5EF4-FFF2-40B4-BE49-F238E27FC236}">
                    <a16:creationId xmlns:a16="http://schemas.microsoft.com/office/drawing/2014/main" id="{E4C02B36-D1B8-5E20-3881-E00A8F5EC5B8}"/>
                  </a:ext>
                </a:extLst>
              </p:cNvPr>
              <p:cNvGrpSpPr/>
              <p:nvPr/>
            </p:nvGrpSpPr>
            <p:grpSpPr>
              <a:xfrm>
                <a:off x="796692" y="-2938770"/>
                <a:ext cx="1653867" cy="2535937"/>
                <a:chOff x="796692" y="-2938770"/>
                <a:chExt cx="1653867" cy="2535937"/>
              </a:xfrm>
            </p:grpSpPr>
            <p:sp>
              <p:nvSpPr>
                <p:cNvPr id="253" name="Freihandform: Form 8">
                  <a:extLst>
                    <a:ext uri="{FF2B5EF4-FFF2-40B4-BE49-F238E27FC236}">
                      <a16:creationId xmlns:a16="http://schemas.microsoft.com/office/drawing/2014/main" id="{C8E0BD24-3999-2778-8B12-2C19EA590653}"/>
                    </a:ext>
                  </a:extLst>
                </p:cNvPr>
                <p:cNvSpPr/>
                <p:nvPr/>
              </p:nvSpPr>
              <p:spPr>
                <a:xfrm>
                  <a:off x="796692" y="-2938770"/>
                  <a:ext cx="1653867" cy="1984647"/>
                </a:xfrm>
                <a:custGeom>
                  <a:avLst/>
                  <a:gdLst>
                    <a:gd name="connsiteX0" fmla="*/ 285750 w 285749"/>
                    <a:gd name="connsiteY0" fmla="*/ 142875 h 342900"/>
                    <a:gd name="connsiteX1" fmla="*/ 142875 w 285749"/>
                    <a:gd name="connsiteY1" fmla="*/ 0 h 342900"/>
                    <a:gd name="connsiteX2" fmla="*/ 0 w 285749"/>
                    <a:gd name="connsiteY2" fmla="*/ 142875 h 342900"/>
                    <a:gd name="connsiteX3" fmla="*/ 46037 w 285749"/>
                    <a:gd name="connsiteY3" fmla="*/ 247849 h 342900"/>
                    <a:gd name="connsiteX4" fmla="*/ 76200 w 285749"/>
                    <a:gd name="connsiteY4" fmla="*/ 317314 h 342900"/>
                    <a:gd name="connsiteX5" fmla="*/ 76200 w 285749"/>
                    <a:gd name="connsiteY5" fmla="*/ 323850 h 342900"/>
                    <a:gd name="connsiteX6" fmla="*/ 95250 w 285749"/>
                    <a:gd name="connsiteY6" fmla="*/ 342900 h 342900"/>
                    <a:gd name="connsiteX7" fmla="*/ 190500 w 285749"/>
                    <a:gd name="connsiteY7" fmla="*/ 342900 h 342900"/>
                    <a:gd name="connsiteX8" fmla="*/ 209550 w 285749"/>
                    <a:gd name="connsiteY8" fmla="*/ 323850 h 342900"/>
                    <a:gd name="connsiteX9" fmla="*/ 209550 w 285749"/>
                    <a:gd name="connsiteY9" fmla="*/ 317314 h 342900"/>
                    <a:gd name="connsiteX10" fmla="*/ 239713 w 285749"/>
                    <a:gd name="connsiteY10" fmla="*/ 247849 h 342900"/>
                    <a:gd name="connsiteX11" fmla="*/ 285750 w 285749"/>
                    <a:gd name="connsiteY11" fmla="*/ 14287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49" h="342900">
                      <a:moveTo>
                        <a:pt x="285750" y="142875"/>
                      </a:moveTo>
                      <a:cubicBezTo>
                        <a:pt x="285750" y="63967"/>
                        <a:pt x="221783" y="0"/>
                        <a:pt x="142875" y="0"/>
                      </a:cubicBezTo>
                      <a:cubicBezTo>
                        <a:pt x="63967" y="0"/>
                        <a:pt x="0" y="63967"/>
                        <a:pt x="0" y="142875"/>
                      </a:cubicBezTo>
                      <a:cubicBezTo>
                        <a:pt x="0" y="184404"/>
                        <a:pt x="17737" y="221761"/>
                        <a:pt x="46037" y="247849"/>
                      </a:cubicBezTo>
                      <a:cubicBezTo>
                        <a:pt x="65401" y="265701"/>
                        <a:pt x="76200" y="290976"/>
                        <a:pt x="76200" y="317314"/>
                      </a:cubicBezTo>
                      <a:lnTo>
                        <a:pt x="76200" y="323850"/>
                      </a:lnTo>
                      <a:cubicBezTo>
                        <a:pt x="76200" y="334371"/>
                        <a:pt x="84729" y="342900"/>
                        <a:pt x="95250" y="342900"/>
                      </a:cubicBezTo>
                      <a:lnTo>
                        <a:pt x="190500" y="342900"/>
                      </a:lnTo>
                      <a:cubicBezTo>
                        <a:pt x="201021" y="342900"/>
                        <a:pt x="209550" y="334371"/>
                        <a:pt x="209550" y="323850"/>
                      </a:cubicBezTo>
                      <a:lnTo>
                        <a:pt x="209550" y="317314"/>
                      </a:lnTo>
                      <a:cubicBezTo>
                        <a:pt x="209550" y="290976"/>
                        <a:pt x="220349" y="265701"/>
                        <a:pt x="239713" y="247849"/>
                      </a:cubicBezTo>
                      <a:cubicBezTo>
                        <a:pt x="268012" y="221761"/>
                        <a:pt x="285750" y="184404"/>
                        <a:pt x="285750" y="142875"/>
                      </a:cubicBezTo>
                      <a:close/>
                    </a:path>
                  </a:pathLst>
                </a:custGeom>
                <a:noFill/>
                <a:ln w="15875" cap="rnd">
                  <a:solidFill>
                    <a:schemeClr val="accent1"/>
                  </a:solidFill>
                  <a:prstDash val="solid"/>
                  <a:miter/>
                </a:ln>
              </p:spPr>
              <p:txBody>
                <a:bodyPr rtlCol="0" anchor="ctr"/>
                <a:lstStyle/>
                <a:p>
                  <a:endParaRPr lang="de-DE"/>
                </a:p>
              </p:txBody>
            </p:sp>
            <p:sp>
              <p:nvSpPr>
                <p:cNvPr id="254" name="Freihandform: Form 9">
                  <a:extLst>
                    <a:ext uri="{FF2B5EF4-FFF2-40B4-BE49-F238E27FC236}">
                      <a16:creationId xmlns:a16="http://schemas.microsoft.com/office/drawing/2014/main" id="{FA25F93F-C6BF-51CB-66A9-0177CFFC6C36}"/>
                    </a:ext>
                  </a:extLst>
                </p:cNvPr>
                <p:cNvSpPr/>
                <p:nvPr/>
              </p:nvSpPr>
              <p:spPr>
                <a:xfrm>
                  <a:off x="1347982" y="-954124"/>
                  <a:ext cx="551291" cy="441033"/>
                </a:xfrm>
                <a:custGeom>
                  <a:avLst/>
                  <a:gdLst>
                    <a:gd name="connsiteX0" fmla="*/ 95250 w 95250"/>
                    <a:gd name="connsiteY0" fmla="*/ 0 h 76200"/>
                    <a:gd name="connsiteX1" fmla="*/ 95250 w 95250"/>
                    <a:gd name="connsiteY1" fmla="*/ 57150 h 76200"/>
                    <a:gd name="connsiteX2" fmla="*/ 76200 w 95250"/>
                    <a:gd name="connsiteY2" fmla="*/ 76200 h 76200"/>
                    <a:gd name="connsiteX3" fmla="*/ 19050 w 95250"/>
                    <a:gd name="connsiteY3" fmla="*/ 76200 h 76200"/>
                    <a:gd name="connsiteX4" fmla="*/ 0 w 95250"/>
                    <a:gd name="connsiteY4" fmla="*/ 57150 h 76200"/>
                    <a:gd name="connsiteX5" fmla="*/ 0 w 9525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76200">
                      <a:moveTo>
                        <a:pt x="95250" y="0"/>
                      </a:moveTo>
                      <a:lnTo>
                        <a:pt x="95250" y="57150"/>
                      </a:lnTo>
                      <a:cubicBezTo>
                        <a:pt x="95250" y="67671"/>
                        <a:pt x="86721" y="76200"/>
                        <a:pt x="76200" y="76200"/>
                      </a:cubicBezTo>
                      <a:lnTo>
                        <a:pt x="19050" y="76200"/>
                      </a:lnTo>
                      <a:cubicBezTo>
                        <a:pt x="8529" y="76200"/>
                        <a:pt x="0" y="67671"/>
                        <a:pt x="0" y="57150"/>
                      </a:cubicBezTo>
                      <a:lnTo>
                        <a:pt x="0" y="0"/>
                      </a:lnTo>
                    </a:path>
                  </a:pathLst>
                </a:custGeom>
                <a:noFill/>
                <a:ln w="15875" cap="rnd">
                  <a:solidFill>
                    <a:schemeClr val="accent1"/>
                  </a:solidFill>
                  <a:prstDash val="solid"/>
                  <a:miter/>
                </a:ln>
              </p:spPr>
              <p:txBody>
                <a:bodyPr rtlCol="0" anchor="ctr"/>
                <a:lstStyle/>
                <a:p>
                  <a:endParaRPr lang="de-DE"/>
                </a:p>
              </p:txBody>
            </p:sp>
            <p:sp>
              <p:nvSpPr>
                <p:cNvPr id="255" name="Freihandform: Form 10">
                  <a:extLst>
                    <a:ext uri="{FF2B5EF4-FFF2-40B4-BE49-F238E27FC236}">
                      <a16:creationId xmlns:a16="http://schemas.microsoft.com/office/drawing/2014/main" id="{39BBC8AD-840C-83F7-1B03-84D4A4B4602B}"/>
                    </a:ext>
                  </a:extLst>
                </p:cNvPr>
                <p:cNvSpPr/>
                <p:nvPr/>
              </p:nvSpPr>
              <p:spPr>
                <a:xfrm>
                  <a:off x="1513370" y="-513091"/>
                  <a:ext cx="220516" cy="110258"/>
                </a:xfrm>
                <a:custGeom>
                  <a:avLst/>
                  <a:gdLst>
                    <a:gd name="connsiteX0" fmla="*/ 38100 w 38100"/>
                    <a:gd name="connsiteY0" fmla="*/ 0 h 19050"/>
                    <a:gd name="connsiteX1" fmla="*/ 19050 w 38100"/>
                    <a:gd name="connsiteY1" fmla="*/ 19050 h 19050"/>
                    <a:gd name="connsiteX2" fmla="*/ 0 w 38100"/>
                    <a:gd name="connsiteY2" fmla="*/ 0 h 19050"/>
                  </a:gdLst>
                  <a:ahLst/>
                  <a:cxnLst>
                    <a:cxn ang="0">
                      <a:pos x="connsiteX0" y="connsiteY0"/>
                    </a:cxn>
                    <a:cxn ang="0">
                      <a:pos x="connsiteX1" y="connsiteY1"/>
                    </a:cxn>
                    <a:cxn ang="0">
                      <a:pos x="connsiteX2" y="connsiteY2"/>
                    </a:cxn>
                  </a:cxnLst>
                  <a:rect l="l" t="t" r="r" b="b"/>
                  <a:pathLst>
                    <a:path w="38100" h="19050">
                      <a:moveTo>
                        <a:pt x="38100" y="0"/>
                      </a:moveTo>
                      <a:cubicBezTo>
                        <a:pt x="38100" y="10521"/>
                        <a:pt x="29571" y="19050"/>
                        <a:pt x="19050" y="19050"/>
                      </a:cubicBezTo>
                      <a:cubicBezTo>
                        <a:pt x="8529" y="19050"/>
                        <a:pt x="0" y="10521"/>
                        <a:pt x="0" y="0"/>
                      </a:cubicBezTo>
                    </a:path>
                  </a:pathLst>
                </a:custGeom>
                <a:noFill/>
                <a:ln w="15875" cap="rnd">
                  <a:solidFill>
                    <a:schemeClr val="accent1"/>
                  </a:solidFill>
                  <a:prstDash val="solid"/>
                  <a:miter/>
                </a:ln>
              </p:spPr>
              <p:txBody>
                <a:bodyPr rtlCol="0" anchor="ctr"/>
                <a:lstStyle/>
                <a:p>
                  <a:endParaRPr lang="de-DE"/>
                </a:p>
              </p:txBody>
            </p:sp>
            <p:sp>
              <p:nvSpPr>
                <p:cNvPr id="256" name="Freihandform: Form 11">
                  <a:extLst>
                    <a:ext uri="{FF2B5EF4-FFF2-40B4-BE49-F238E27FC236}">
                      <a16:creationId xmlns:a16="http://schemas.microsoft.com/office/drawing/2014/main" id="{2791D386-0490-7F2F-7DD4-D85695C111D4}"/>
                    </a:ext>
                  </a:extLst>
                </p:cNvPr>
                <p:cNvSpPr/>
                <p:nvPr/>
              </p:nvSpPr>
              <p:spPr>
                <a:xfrm>
                  <a:off x="804852" y="-2001576"/>
                  <a:ext cx="818770" cy="275645"/>
                </a:xfrm>
                <a:custGeom>
                  <a:avLst/>
                  <a:gdLst>
                    <a:gd name="connsiteX0" fmla="*/ 0 w 141464"/>
                    <a:gd name="connsiteY0" fmla="*/ 0 h 47625"/>
                    <a:gd name="connsiteX1" fmla="*/ 53631 w 141464"/>
                    <a:gd name="connsiteY1" fmla="*/ 0 h 47625"/>
                    <a:gd name="connsiteX2" fmla="*/ 46214 w 141464"/>
                    <a:gd name="connsiteY2" fmla="*/ 19050 h 47625"/>
                    <a:gd name="connsiteX3" fmla="*/ 74789 w 141464"/>
                    <a:gd name="connsiteY3" fmla="*/ 47625 h 47625"/>
                    <a:gd name="connsiteX4" fmla="*/ 103364 w 141464"/>
                    <a:gd name="connsiteY4" fmla="*/ 19050 h 47625"/>
                    <a:gd name="connsiteX5" fmla="*/ 95948 w 141464"/>
                    <a:gd name="connsiteY5" fmla="*/ 0 h 47625"/>
                    <a:gd name="connsiteX6" fmla="*/ 141464 w 141464"/>
                    <a:gd name="connsiteY6"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64" h="47625">
                      <a:moveTo>
                        <a:pt x="0" y="0"/>
                      </a:moveTo>
                      <a:lnTo>
                        <a:pt x="53631" y="0"/>
                      </a:lnTo>
                      <a:cubicBezTo>
                        <a:pt x="49069" y="5064"/>
                        <a:pt x="46214" y="11699"/>
                        <a:pt x="46214" y="19050"/>
                      </a:cubicBezTo>
                      <a:cubicBezTo>
                        <a:pt x="46214" y="34832"/>
                        <a:pt x="59007" y="47625"/>
                        <a:pt x="74789" y="47625"/>
                      </a:cubicBezTo>
                      <a:cubicBezTo>
                        <a:pt x="90571" y="47625"/>
                        <a:pt x="103364" y="34832"/>
                        <a:pt x="103364" y="19050"/>
                      </a:cubicBezTo>
                      <a:cubicBezTo>
                        <a:pt x="103364" y="11699"/>
                        <a:pt x="100510" y="5064"/>
                        <a:pt x="95948" y="0"/>
                      </a:cubicBezTo>
                      <a:lnTo>
                        <a:pt x="141464" y="0"/>
                      </a:lnTo>
                    </a:path>
                  </a:pathLst>
                </a:custGeom>
                <a:noFill/>
                <a:ln w="15875" cap="rnd">
                  <a:solidFill>
                    <a:schemeClr val="accent1"/>
                  </a:solidFill>
                  <a:prstDash val="solid"/>
                  <a:miter/>
                </a:ln>
              </p:spPr>
              <p:txBody>
                <a:bodyPr rtlCol="0" anchor="ctr"/>
                <a:lstStyle/>
                <a:p>
                  <a:endParaRPr lang="de-DE"/>
                </a:p>
              </p:txBody>
            </p:sp>
            <p:sp>
              <p:nvSpPr>
                <p:cNvPr id="257" name="Freihandform: Form 12">
                  <a:extLst>
                    <a:ext uri="{FF2B5EF4-FFF2-40B4-BE49-F238E27FC236}">
                      <a16:creationId xmlns:a16="http://schemas.microsoft.com/office/drawing/2014/main" id="{8F081D6E-4160-1128-6C09-B77197EF8568}"/>
                    </a:ext>
                  </a:extLst>
                </p:cNvPr>
                <p:cNvSpPr/>
                <p:nvPr/>
              </p:nvSpPr>
              <p:spPr>
                <a:xfrm>
                  <a:off x="1623628" y="-2277222"/>
                  <a:ext cx="818770" cy="275645"/>
                </a:xfrm>
                <a:custGeom>
                  <a:avLst/>
                  <a:gdLst>
                    <a:gd name="connsiteX0" fmla="*/ 141464 w 141464"/>
                    <a:gd name="connsiteY0" fmla="*/ 47625 h 47625"/>
                    <a:gd name="connsiteX1" fmla="*/ 87834 w 141464"/>
                    <a:gd name="connsiteY1" fmla="*/ 47625 h 47625"/>
                    <a:gd name="connsiteX2" fmla="*/ 95250 w 141464"/>
                    <a:gd name="connsiteY2" fmla="*/ 28575 h 47625"/>
                    <a:gd name="connsiteX3" fmla="*/ 66675 w 141464"/>
                    <a:gd name="connsiteY3" fmla="*/ 0 h 47625"/>
                    <a:gd name="connsiteX4" fmla="*/ 38100 w 141464"/>
                    <a:gd name="connsiteY4" fmla="*/ 28575 h 47625"/>
                    <a:gd name="connsiteX5" fmla="*/ 45516 w 141464"/>
                    <a:gd name="connsiteY5" fmla="*/ 47625 h 47625"/>
                    <a:gd name="connsiteX6" fmla="*/ 0 w 141464"/>
                    <a:gd name="connsiteY6"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64" h="47625">
                      <a:moveTo>
                        <a:pt x="141464" y="47625"/>
                      </a:moveTo>
                      <a:lnTo>
                        <a:pt x="87834" y="47625"/>
                      </a:lnTo>
                      <a:cubicBezTo>
                        <a:pt x="92395" y="42562"/>
                        <a:pt x="95250" y="35927"/>
                        <a:pt x="95250" y="28575"/>
                      </a:cubicBezTo>
                      <a:cubicBezTo>
                        <a:pt x="95250" y="12794"/>
                        <a:pt x="82457" y="0"/>
                        <a:pt x="66675" y="0"/>
                      </a:cubicBezTo>
                      <a:cubicBezTo>
                        <a:pt x="50893" y="0"/>
                        <a:pt x="38100" y="12794"/>
                        <a:pt x="38100" y="28575"/>
                      </a:cubicBezTo>
                      <a:cubicBezTo>
                        <a:pt x="38100" y="35927"/>
                        <a:pt x="40955" y="42562"/>
                        <a:pt x="45516" y="47625"/>
                      </a:cubicBezTo>
                      <a:lnTo>
                        <a:pt x="0" y="47625"/>
                      </a:lnTo>
                    </a:path>
                  </a:pathLst>
                </a:custGeom>
                <a:noFill/>
                <a:ln w="15875" cap="rnd">
                  <a:solidFill>
                    <a:schemeClr val="accent1"/>
                  </a:solidFill>
                  <a:prstDash val="solid"/>
                  <a:miter/>
                </a:ln>
              </p:spPr>
              <p:txBody>
                <a:bodyPr rtlCol="0" anchor="ctr"/>
                <a:lstStyle/>
                <a:p>
                  <a:endParaRPr lang="de-DE"/>
                </a:p>
              </p:txBody>
            </p:sp>
            <p:sp>
              <p:nvSpPr>
                <p:cNvPr id="258" name="Freihandform: Form 13">
                  <a:extLst>
                    <a:ext uri="{FF2B5EF4-FFF2-40B4-BE49-F238E27FC236}">
                      <a16:creationId xmlns:a16="http://schemas.microsoft.com/office/drawing/2014/main" id="{6691C32C-268A-2E9C-B23B-A2CFA4A1F8F6}"/>
                    </a:ext>
                  </a:extLst>
                </p:cNvPr>
                <p:cNvSpPr/>
                <p:nvPr/>
              </p:nvSpPr>
              <p:spPr>
                <a:xfrm>
                  <a:off x="1347982" y="-2938770"/>
                  <a:ext cx="275645" cy="937194"/>
                </a:xfrm>
                <a:custGeom>
                  <a:avLst/>
                  <a:gdLst>
                    <a:gd name="connsiteX0" fmla="*/ 47625 w 47625"/>
                    <a:gd name="connsiteY0" fmla="*/ 0 h 161925"/>
                    <a:gd name="connsiteX1" fmla="*/ 47625 w 47625"/>
                    <a:gd name="connsiteY1" fmla="*/ 64566 h 161925"/>
                    <a:gd name="connsiteX2" fmla="*/ 28575 w 47625"/>
                    <a:gd name="connsiteY2" fmla="*/ 57150 h 161925"/>
                    <a:gd name="connsiteX3" fmla="*/ 0 w 47625"/>
                    <a:gd name="connsiteY3" fmla="*/ 85725 h 161925"/>
                    <a:gd name="connsiteX4" fmla="*/ 28575 w 47625"/>
                    <a:gd name="connsiteY4" fmla="*/ 114300 h 161925"/>
                    <a:gd name="connsiteX5" fmla="*/ 47625 w 47625"/>
                    <a:gd name="connsiteY5" fmla="*/ 106885 h 161925"/>
                    <a:gd name="connsiteX6" fmla="*/ 47625 w 47625"/>
                    <a:gd name="connsiteY6"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61925">
                      <a:moveTo>
                        <a:pt x="47625" y="0"/>
                      </a:moveTo>
                      <a:lnTo>
                        <a:pt x="47625" y="64566"/>
                      </a:lnTo>
                      <a:cubicBezTo>
                        <a:pt x="42562" y="60005"/>
                        <a:pt x="35926" y="57150"/>
                        <a:pt x="28575" y="57150"/>
                      </a:cubicBezTo>
                      <a:cubicBezTo>
                        <a:pt x="12793" y="57150"/>
                        <a:pt x="0" y="69944"/>
                        <a:pt x="0" y="85725"/>
                      </a:cubicBezTo>
                      <a:cubicBezTo>
                        <a:pt x="0" y="101507"/>
                        <a:pt x="12793" y="114300"/>
                        <a:pt x="28575" y="114300"/>
                      </a:cubicBezTo>
                      <a:cubicBezTo>
                        <a:pt x="35926" y="114300"/>
                        <a:pt x="42562" y="111445"/>
                        <a:pt x="47625" y="106885"/>
                      </a:cubicBezTo>
                      <a:lnTo>
                        <a:pt x="47625" y="161925"/>
                      </a:lnTo>
                    </a:path>
                  </a:pathLst>
                </a:custGeom>
                <a:noFill/>
                <a:ln w="15875" cap="rnd">
                  <a:solidFill>
                    <a:schemeClr val="accent1"/>
                  </a:solidFill>
                  <a:prstDash val="solid"/>
                  <a:miter/>
                </a:ln>
              </p:spPr>
              <p:txBody>
                <a:bodyPr rtlCol="0" anchor="ctr"/>
                <a:lstStyle/>
                <a:p>
                  <a:endParaRPr lang="de-DE"/>
                </a:p>
              </p:txBody>
            </p:sp>
            <p:sp>
              <p:nvSpPr>
                <p:cNvPr id="259" name="Freihandform: Form 14">
                  <a:extLst>
                    <a:ext uri="{FF2B5EF4-FFF2-40B4-BE49-F238E27FC236}">
                      <a16:creationId xmlns:a16="http://schemas.microsoft.com/office/drawing/2014/main" id="{7280CE3E-6489-C3D7-AA5A-C5145A0236B5}"/>
                    </a:ext>
                  </a:extLst>
                </p:cNvPr>
                <p:cNvSpPr/>
                <p:nvPr/>
              </p:nvSpPr>
              <p:spPr>
                <a:xfrm>
                  <a:off x="1623628" y="-2001576"/>
                  <a:ext cx="275645" cy="1047452"/>
                </a:xfrm>
                <a:custGeom>
                  <a:avLst/>
                  <a:gdLst>
                    <a:gd name="connsiteX0" fmla="*/ 0 w 47625"/>
                    <a:gd name="connsiteY0" fmla="*/ 180975 h 180975"/>
                    <a:gd name="connsiteX1" fmla="*/ 0 w 47625"/>
                    <a:gd name="connsiteY1" fmla="*/ 97360 h 180975"/>
                    <a:gd name="connsiteX2" fmla="*/ 19050 w 47625"/>
                    <a:gd name="connsiteY2" fmla="*/ 104775 h 180975"/>
                    <a:gd name="connsiteX3" fmla="*/ 47625 w 47625"/>
                    <a:gd name="connsiteY3" fmla="*/ 76200 h 180975"/>
                    <a:gd name="connsiteX4" fmla="*/ 19050 w 47625"/>
                    <a:gd name="connsiteY4" fmla="*/ 47625 h 180975"/>
                    <a:gd name="connsiteX5" fmla="*/ 0 w 47625"/>
                    <a:gd name="connsiteY5" fmla="*/ 55041 h 180975"/>
                    <a:gd name="connsiteX6" fmla="*/ 0 w 47625"/>
                    <a:gd name="connsiteY6"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80975">
                      <a:moveTo>
                        <a:pt x="0" y="180975"/>
                      </a:moveTo>
                      <a:lnTo>
                        <a:pt x="0" y="97360"/>
                      </a:lnTo>
                      <a:cubicBezTo>
                        <a:pt x="5063" y="101920"/>
                        <a:pt x="11698" y="104775"/>
                        <a:pt x="19050" y="104775"/>
                      </a:cubicBezTo>
                      <a:cubicBezTo>
                        <a:pt x="34832" y="104775"/>
                        <a:pt x="47625" y="91982"/>
                        <a:pt x="47625" y="76200"/>
                      </a:cubicBezTo>
                      <a:cubicBezTo>
                        <a:pt x="47625" y="60419"/>
                        <a:pt x="34832" y="47625"/>
                        <a:pt x="19050" y="47625"/>
                      </a:cubicBezTo>
                      <a:cubicBezTo>
                        <a:pt x="11698" y="47625"/>
                        <a:pt x="5063" y="50480"/>
                        <a:pt x="0" y="55041"/>
                      </a:cubicBezTo>
                      <a:lnTo>
                        <a:pt x="0" y="0"/>
                      </a:lnTo>
                    </a:path>
                  </a:pathLst>
                </a:custGeom>
                <a:noFill/>
                <a:ln w="15875" cap="rnd">
                  <a:solidFill>
                    <a:schemeClr val="accent1"/>
                  </a:solidFill>
                  <a:prstDash val="solid"/>
                  <a:miter/>
                </a:ln>
              </p:spPr>
              <p:txBody>
                <a:bodyPr rtlCol="0" anchor="ctr"/>
                <a:lstStyle/>
                <a:p>
                  <a:endParaRPr lang="de-DE"/>
                </a:p>
              </p:txBody>
            </p:sp>
          </p:grpSp>
        </p:grpSp>
      </p:grpSp>
      <p:sp>
        <p:nvSpPr>
          <p:cNvPr id="269" name="Textplatzhalter 14">
            <a:extLst>
              <a:ext uri="{FF2B5EF4-FFF2-40B4-BE49-F238E27FC236}">
                <a16:creationId xmlns:a16="http://schemas.microsoft.com/office/drawing/2014/main" id="{50B371F2-37CE-DF50-727F-95047D6B39AB}"/>
              </a:ext>
            </a:extLst>
          </p:cNvPr>
          <p:cNvSpPr txBox="1">
            <a:spLocks/>
          </p:cNvSpPr>
          <p:nvPr/>
        </p:nvSpPr>
        <p:spPr>
          <a:xfrm>
            <a:off x="7027847" y="2753142"/>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a:solidFill>
                  <a:schemeClr val="accent1"/>
                </a:solidFill>
                <a:cs typeface="Calibri"/>
              </a:rPr>
              <a:t>03</a:t>
            </a:r>
          </a:p>
        </p:txBody>
      </p:sp>
      <p:grpSp>
        <p:nvGrpSpPr>
          <p:cNvPr id="270" name="Gruppieren 269">
            <a:extLst>
              <a:ext uri="{FF2B5EF4-FFF2-40B4-BE49-F238E27FC236}">
                <a16:creationId xmlns:a16="http://schemas.microsoft.com/office/drawing/2014/main" id="{EBFEB0CB-7819-9A68-D0FA-9FDA60796419}"/>
              </a:ext>
            </a:extLst>
          </p:cNvPr>
          <p:cNvGrpSpPr/>
          <p:nvPr/>
        </p:nvGrpSpPr>
        <p:grpSpPr>
          <a:xfrm>
            <a:off x="7419012" y="3033755"/>
            <a:ext cx="488161" cy="474553"/>
            <a:chOff x="3679334" y="5016520"/>
            <a:chExt cx="1556037" cy="1512661"/>
          </a:xfrm>
        </p:grpSpPr>
        <p:grpSp>
          <p:nvGrpSpPr>
            <p:cNvPr id="320" name="Gruppieren 319">
              <a:extLst>
                <a:ext uri="{FF2B5EF4-FFF2-40B4-BE49-F238E27FC236}">
                  <a16:creationId xmlns:a16="http://schemas.microsoft.com/office/drawing/2014/main" id="{214600B0-96F8-D24D-297F-BB07F8A5A12E}"/>
                </a:ext>
              </a:extLst>
            </p:cNvPr>
            <p:cNvGrpSpPr/>
            <p:nvPr/>
          </p:nvGrpSpPr>
          <p:grpSpPr>
            <a:xfrm>
              <a:off x="4598913" y="6006054"/>
              <a:ext cx="376085" cy="501420"/>
              <a:chOff x="560035" y="4880730"/>
              <a:chExt cx="1333309" cy="1777650"/>
            </a:xfrm>
          </p:grpSpPr>
          <p:sp>
            <p:nvSpPr>
              <p:cNvPr id="328" name="Freihandform: Form 205">
                <a:extLst>
                  <a:ext uri="{FF2B5EF4-FFF2-40B4-BE49-F238E27FC236}">
                    <a16:creationId xmlns:a16="http://schemas.microsoft.com/office/drawing/2014/main" id="{DE5C4ECE-F9D4-FF4A-EDDD-5492F71AE734}"/>
                  </a:ext>
                </a:extLst>
              </p:cNvPr>
              <p:cNvSpPr/>
              <p:nvPr/>
            </p:nvSpPr>
            <p:spPr>
              <a:xfrm>
                <a:off x="1004471" y="5325166"/>
                <a:ext cx="444436" cy="444436"/>
              </a:xfrm>
              <a:custGeom>
                <a:avLst/>
                <a:gdLst>
                  <a:gd name="connsiteX0" fmla="*/ 444436 w 444436"/>
                  <a:gd name="connsiteY0" fmla="*/ 222218 h 444436"/>
                  <a:gd name="connsiteX1" fmla="*/ 222218 w 444436"/>
                  <a:gd name="connsiteY1" fmla="*/ 444437 h 444436"/>
                  <a:gd name="connsiteX2" fmla="*/ 0 w 444436"/>
                  <a:gd name="connsiteY2" fmla="*/ 222218 h 444436"/>
                  <a:gd name="connsiteX3" fmla="*/ 222218 w 444436"/>
                  <a:gd name="connsiteY3" fmla="*/ 0 h 444436"/>
                  <a:gd name="connsiteX4" fmla="*/ 444436 w 444436"/>
                  <a:gd name="connsiteY4" fmla="*/ 222218 h 44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436" h="444436">
                    <a:moveTo>
                      <a:pt x="444436" y="222218"/>
                    </a:moveTo>
                    <a:cubicBezTo>
                      <a:pt x="444436" y="344946"/>
                      <a:pt x="344946" y="444437"/>
                      <a:pt x="222218" y="444437"/>
                    </a:cubicBezTo>
                    <a:cubicBezTo>
                      <a:pt x="99490" y="444437"/>
                      <a:pt x="0" y="344946"/>
                      <a:pt x="0" y="222218"/>
                    </a:cubicBezTo>
                    <a:cubicBezTo>
                      <a:pt x="0" y="99491"/>
                      <a:pt x="99490" y="0"/>
                      <a:pt x="222218" y="0"/>
                    </a:cubicBezTo>
                    <a:cubicBezTo>
                      <a:pt x="344946" y="0"/>
                      <a:pt x="444436" y="99491"/>
                      <a:pt x="444436" y="222218"/>
                    </a:cubicBezTo>
                    <a:close/>
                  </a:path>
                </a:pathLst>
              </a:custGeom>
              <a:noFill/>
              <a:ln w="9525" cap="rnd">
                <a:solidFill>
                  <a:srgbClr val="706F6F"/>
                </a:solidFill>
                <a:prstDash val="solid"/>
                <a:round/>
              </a:ln>
            </p:spPr>
            <p:txBody>
              <a:bodyPr rtlCol="0" anchor="ctr"/>
              <a:lstStyle/>
              <a:p>
                <a:endParaRPr lang="de-DE"/>
              </a:p>
            </p:txBody>
          </p:sp>
          <p:sp>
            <p:nvSpPr>
              <p:cNvPr id="329" name="Freihandform: Form 206">
                <a:extLst>
                  <a:ext uri="{FF2B5EF4-FFF2-40B4-BE49-F238E27FC236}">
                    <a16:creationId xmlns:a16="http://schemas.microsoft.com/office/drawing/2014/main" id="{CE7E830E-9DAE-0D98-183E-A89FD04DE7F1}"/>
                  </a:ext>
                </a:extLst>
              </p:cNvPr>
              <p:cNvSpPr/>
              <p:nvPr/>
            </p:nvSpPr>
            <p:spPr>
              <a:xfrm>
                <a:off x="560035" y="4880730"/>
                <a:ext cx="1333309" cy="1777650"/>
              </a:xfrm>
              <a:custGeom>
                <a:avLst/>
                <a:gdLst>
                  <a:gd name="connsiteX0" fmla="*/ 666655 w 1333309"/>
                  <a:gd name="connsiteY0" fmla="*/ 1777651 h 1777650"/>
                  <a:gd name="connsiteX1" fmla="*/ 0 w 1333309"/>
                  <a:gd name="connsiteY1" fmla="*/ 666655 h 1777650"/>
                  <a:gd name="connsiteX2" fmla="*/ 666655 w 1333309"/>
                  <a:gd name="connsiteY2" fmla="*/ 0 h 1777650"/>
                  <a:gd name="connsiteX3" fmla="*/ 1333309 w 1333309"/>
                  <a:gd name="connsiteY3" fmla="*/ 666655 h 1777650"/>
                  <a:gd name="connsiteX4" fmla="*/ 666655 w 1333309"/>
                  <a:gd name="connsiteY4" fmla="*/ 1777651 h 177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309" h="1777650">
                    <a:moveTo>
                      <a:pt x="666655" y="1777651"/>
                    </a:moveTo>
                    <a:cubicBezTo>
                      <a:pt x="666655" y="1777651"/>
                      <a:pt x="0" y="1122807"/>
                      <a:pt x="0" y="666655"/>
                    </a:cubicBezTo>
                    <a:cubicBezTo>
                      <a:pt x="0" y="298323"/>
                      <a:pt x="298323" y="0"/>
                      <a:pt x="666655" y="0"/>
                    </a:cubicBezTo>
                    <a:cubicBezTo>
                      <a:pt x="1034987" y="0"/>
                      <a:pt x="1333309" y="298323"/>
                      <a:pt x="1333309" y="666655"/>
                    </a:cubicBezTo>
                    <a:cubicBezTo>
                      <a:pt x="1333309" y="1122902"/>
                      <a:pt x="666655" y="1777651"/>
                      <a:pt x="666655" y="1777651"/>
                    </a:cubicBezTo>
                    <a:close/>
                  </a:path>
                </a:pathLst>
              </a:custGeom>
              <a:noFill/>
              <a:ln w="9525" cap="rnd">
                <a:solidFill>
                  <a:srgbClr val="706F6F"/>
                </a:solidFill>
                <a:prstDash val="solid"/>
                <a:round/>
              </a:ln>
            </p:spPr>
            <p:txBody>
              <a:bodyPr rtlCol="0" anchor="ctr"/>
              <a:lstStyle/>
              <a:p>
                <a:endParaRPr lang="de-DE"/>
              </a:p>
            </p:txBody>
          </p:sp>
        </p:grpSp>
        <p:sp>
          <p:nvSpPr>
            <p:cNvPr id="321" name="Freihandform: Form 219">
              <a:extLst>
                <a:ext uri="{FF2B5EF4-FFF2-40B4-BE49-F238E27FC236}">
                  <a16:creationId xmlns:a16="http://schemas.microsoft.com/office/drawing/2014/main" id="{F67B240D-A980-98D7-4C13-B17F4F0DB936}"/>
                </a:ext>
              </a:extLst>
            </p:cNvPr>
            <p:cNvSpPr/>
            <p:nvPr/>
          </p:nvSpPr>
          <p:spPr>
            <a:xfrm>
              <a:off x="3985280" y="5169409"/>
              <a:ext cx="1250091" cy="611892"/>
            </a:xfrm>
            <a:custGeom>
              <a:avLst/>
              <a:gdLst>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 name="connsiteX6" fmla="*/ 0 w 1250091"/>
                <a:gd name="connsiteY6" fmla="*/ 107026 h 611892"/>
                <a:gd name="connsiteX7" fmla="*/ 246935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8" fmla="*/ 338375 w 1250091"/>
                <a:gd name="connsiteY8" fmla="*/ 19846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091" h="611892">
                  <a:moveTo>
                    <a:pt x="246935" y="0"/>
                  </a:moveTo>
                  <a:lnTo>
                    <a:pt x="944145" y="0"/>
                  </a:lnTo>
                  <a:cubicBezTo>
                    <a:pt x="1113114" y="0"/>
                    <a:pt x="1250091" y="136977"/>
                    <a:pt x="1250091" y="305946"/>
                  </a:cubicBezTo>
                  <a:lnTo>
                    <a:pt x="1250090" y="305946"/>
                  </a:lnTo>
                  <a:cubicBezTo>
                    <a:pt x="1250090" y="474915"/>
                    <a:pt x="1113113" y="611892"/>
                    <a:pt x="944144" y="611892"/>
                  </a:cubicBezTo>
                  <a:lnTo>
                    <a:pt x="0" y="611891"/>
                  </a:lnTo>
                </a:path>
              </a:pathLst>
            </a:cu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2" name="Freihandform: Form 223">
              <a:extLst>
                <a:ext uri="{FF2B5EF4-FFF2-40B4-BE49-F238E27FC236}">
                  <a16:creationId xmlns:a16="http://schemas.microsoft.com/office/drawing/2014/main" id="{129FA567-9B6D-23D6-0A13-07511F7AEFB0}"/>
                </a:ext>
              </a:extLst>
            </p:cNvPr>
            <p:cNvSpPr/>
            <p:nvPr/>
          </p:nvSpPr>
          <p:spPr>
            <a:xfrm flipH="1" flipV="1">
              <a:off x="3679334" y="5781286"/>
              <a:ext cx="1250091" cy="611892"/>
            </a:xfrm>
            <a:custGeom>
              <a:avLst/>
              <a:gdLst>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 name="connsiteX6" fmla="*/ 0 w 1250091"/>
                <a:gd name="connsiteY6" fmla="*/ 107026 h 611892"/>
                <a:gd name="connsiteX7" fmla="*/ 246935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8" fmla="*/ 338375 w 1250091"/>
                <a:gd name="connsiteY8" fmla="*/ 19846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091" h="611892">
                  <a:moveTo>
                    <a:pt x="246935" y="0"/>
                  </a:moveTo>
                  <a:lnTo>
                    <a:pt x="944145" y="0"/>
                  </a:lnTo>
                  <a:cubicBezTo>
                    <a:pt x="1113114" y="0"/>
                    <a:pt x="1250091" y="136977"/>
                    <a:pt x="1250091" y="305946"/>
                  </a:cubicBezTo>
                  <a:lnTo>
                    <a:pt x="1250090" y="305946"/>
                  </a:lnTo>
                  <a:cubicBezTo>
                    <a:pt x="1250090" y="474915"/>
                    <a:pt x="1113113" y="611892"/>
                    <a:pt x="944144" y="611892"/>
                  </a:cubicBezTo>
                  <a:lnTo>
                    <a:pt x="0" y="611891"/>
                  </a:lnTo>
                </a:path>
              </a:pathLst>
            </a:cu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3" name="Gleichschenkliges Dreieck 224">
              <a:extLst>
                <a:ext uri="{FF2B5EF4-FFF2-40B4-BE49-F238E27FC236}">
                  <a16:creationId xmlns:a16="http://schemas.microsoft.com/office/drawing/2014/main" id="{89E2B713-CF97-B666-8AAB-0480FB322054}"/>
                </a:ext>
              </a:extLst>
            </p:cNvPr>
            <p:cNvSpPr/>
            <p:nvPr/>
          </p:nvSpPr>
          <p:spPr>
            <a:xfrm rot="5400000">
              <a:off x="3962582" y="5041410"/>
              <a:ext cx="310383" cy="260604"/>
            </a:xfrm>
            <a:prstGeom prst="triangle">
              <a:avLst/>
            </a:pr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4" name="Ellipse 211">
              <a:extLst>
                <a:ext uri="{FF2B5EF4-FFF2-40B4-BE49-F238E27FC236}">
                  <a16:creationId xmlns:a16="http://schemas.microsoft.com/office/drawing/2014/main" id="{B94E3657-2306-47D0-885D-F37466145009}"/>
                </a:ext>
              </a:extLst>
            </p:cNvPr>
            <p:cNvSpPr/>
            <p:nvPr/>
          </p:nvSpPr>
          <p:spPr>
            <a:xfrm>
              <a:off x="4470498" y="5039108"/>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5" name="Ellipse 214">
              <a:extLst>
                <a:ext uri="{FF2B5EF4-FFF2-40B4-BE49-F238E27FC236}">
                  <a16:creationId xmlns:a16="http://schemas.microsoft.com/office/drawing/2014/main" id="{7E5E212A-CCDA-C8D3-5ED7-AA3789B30AB3}"/>
                </a:ext>
              </a:extLst>
            </p:cNvPr>
            <p:cNvSpPr/>
            <p:nvPr/>
          </p:nvSpPr>
          <p:spPr>
            <a:xfrm>
              <a:off x="4560051" y="564488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6" name="Ellipse 215">
              <a:extLst>
                <a:ext uri="{FF2B5EF4-FFF2-40B4-BE49-F238E27FC236}">
                  <a16:creationId xmlns:a16="http://schemas.microsoft.com/office/drawing/2014/main" id="{1036C169-DD76-B341-A32E-BA8B1741914D}"/>
                </a:ext>
              </a:extLst>
            </p:cNvPr>
            <p:cNvSpPr/>
            <p:nvPr/>
          </p:nvSpPr>
          <p:spPr>
            <a:xfrm>
              <a:off x="4093785" y="564488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7" name="Ellipse 216">
              <a:extLst>
                <a:ext uri="{FF2B5EF4-FFF2-40B4-BE49-F238E27FC236}">
                  <a16:creationId xmlns:a16="http://schemas.microsoft.com/office/drawing/2014/main" id="{C3D898B8-00CD-8AFD-8916-420D147BDA2E}"/>
                </a:ext>
              </a:extLst>
            </p:cNvPr>
            <p:cNvSpPr/>
            <p:nvPr/>
          </p:nvSpPr>
          <p:spPr>
            <a:xfrm>
              <a:off x="4140228" y="626857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grpSp>
      <p:cxnSp>
        <p:nvCxnSpPr>
          <p:cNvPr id="330" name="Gerader Verbinder 329">
            <a:extLst>
              <a:ext uri="{FF2B5EF4-FFF2-40B4-BE49-F238E27FC236}">
                <a16:creationId xmlns:a16="http://schemas.microsoft.com/office/drawing/2014/main" id="{53BAF094-161F-284F-E251-37304AD79A7A}"/>
              </a:ext>
            </a:extLst>
          </p:cNvPr>
          <p:cNvCxnSpPr>
            <a:cxnSpLocks/>
          </p:cNvCxnSpPr>
          <p:nvPr/>
        </p:nvCxnSpPr>
        <p:spPr>
          <a:xfrm>
            <a:off x="1535776"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1" name="Gerader Verbinder 330">
            <a:extLst>
              <a:ext uri="{FF2B5EF4-FFF2-40B4-BE49-F238E27FC236}">
                <a16:creationId xmlns:a16="http://schemas.microsoft.com/office/drawing/2014/main" id="{EEC82529-22E9-B767-826A-7E10085BF9A1}"/>
              </a:ext>
            </a:extLst>
          </p:cNvPr>
          <p:cNvCxnSpPr>
            <a:cxnSpLocks/>
          </p:cNvCxnSpPr>
          <p:nvPr/>
        </p:nvCxnSpPr>
        <p:spPr>
          <a:xfrm>
            <a:off x="4415262"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2" name="Gerader Verbinder 331">
            <a:extLst>
              <a:ext uri="{FF2B5EF4-FFF2-40B4-BE49-F238E27FC236}">
                <a16:creationId xmlns:a16="http://schemas.microsoft.com/office/drawing/2014/main" id="{0C562D77-6A0F-71FF-F6EF-654B9B52CF4E}"/>
              </a:ext>
            </a:extLst>
          </p:cNvPr>
          <p:cNvCxnSpPr>
            <a:cxnSpLocks/>
          </p:cNvCxnSpPr>
          <p:nvPr/>
        </p:nvCxnSpPr>
        <p:spPr>
          <a:xfrm>
            <a:off x="7321279"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3" name="Gerader Verbinder 332">
            <a:extLst>
              <a:ext uri="{FF2B5EF4-FFF2-40B4-BE49-F238E27FC236}">
                <a16:creationId xmlns:a16="http://schemas.microsoft.com/office/drawing/2014/main" id="{ACA887A7-09BD-DEEF-7FC3-213EF86DF025}"/>
              </a:ext>
            </a:extLst>
          </p:cNvPr>
          <p:cNvCxnSpPr>
            <a:cxnSpLocks/>
          </p:cNvCxnSpPr>
          <p:nvPr/>
        </p:nvCxnSpPr>
        <p:spPr>
          <a:xfrm>
            <a:off x="10228517"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460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209792-A787-9346-397C-8F78C2CDACF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5EB112A-81F8-5542-78DD-1CEFD5F74B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5EB112A-81F8-5542-78DD-1CEFD5F74B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1A9C4F14-513A-8C7A-3A03-BB2B79CF3504}"/>
              </a:ext>
            </a:extLst>
          </p:cNvPr>
          <p:cNvSpPr>
            <a:spLocks noGrp="1"/>
          </p:cNvSpPr>
          <p:nvPr>
            <p:ph type="body" sz="quarter" idx="12"/>
          </p:nvPr>
        </p:nvSpPr>
        <p:spPr>
          <a:xfrm>
            <a:off x="623888" y="296863"/>
            <a:ext cx="9488833" cy="169277"/>
          </a:xfrm>
        </p:spPr>
        <p:txBody>
          <a:bodyPr/>
          <a:lstStyle/>
          <a:p>
            <a:r>
              <a:rPr lang="de-DE" err="1"/>
              <a:t>Our</a:t>
            </a:r>
            <a:r>
              <a:rPr lang="de-DE"/>
              <a:t> </a:t>
            </a:r>
            <a:r>
              <a:rPr lang="de-DE" err="1"/>
              <a:t>strengths</a:t>
            </a:r>
            <a:r>
              <a:rPr lang="de-DE"/>
              <a:t>, </a:t>
            </a:r>
            <a:r>
              <a:rPr lang="de-DE" err="1"/>
              <a:t>your</a:t>
            </a:r>
            <a:r>
              <a:rPr lang="de-DE"/>
              <a:t> </a:t>
            </a:r>
            <a:r>
              <a:rPr lang="de-DE" err="1"/>
              <a:t>benefits</a:t>
            </a:r>
            <a:endParaRPr lang="de-DE"/>
          </a:p>
        </p:txBody>
      </p:sp>
      <p:sp>
        <p:nvSpPr>
          <p:cNvPr id="6" name="Titel 5">
            <a:extLst>
              <a:ext uri="{FF2B5EF4-FFF2-40B4-BE49-F238E27FC236}">
                <a16:creationId xmlns:a16="http://schemas.microsoft.com/office/drawing/2014/main" id="{C97B2925-1379-3CF1-E194-5E0D8C4FE254}"/>
              </a:ext>
            </a:extLst>
          </p:cNvPr>
          <p:cNvSpPr>
            <a:spLocks noGrp="1"/>
          </p:cNvSpPr>
          <p:nvPr>
            <p:ph type="title"/>
          </p:nvPr>
        </p:nvSpPr>
        <p:spPr>
          <a:xfrm>
            <a:off x="623888" y="620713"/>
            <a:ext cx="9488833" cy="738664"/>
          </a:xfrm>
        </p:spPr>
        <p:txBody>
          <a:bodyPr/>
          <a:lstStyle/>
          <a:p>
            <a:r>
              <a:rPr lang="en-US" dirty="0"/>
              <a:t>“Stronger together” with our </a:t>
            </a:r>
            <a:r>
              <a:rPr lang="en-US" b="1" dirty="0"/>
              <a:t>partners</a:t>
            </a:r>
          </a:p>
        </p:txBody>
      </p:sp>
      <p:sp>
        <p:nvSpPr>
          <p:cNvPr id="17" name="Inhaltsplatzhalter 16">
            <a:extLst>
              <a:ext uri="{FF2B5EF4-FFF2-40B4-BE49-F238E27FC236}">
                <a16:creationId xmlns:a16="http://schemas.microsoft.com/office/drawing/2014/main" id="{5DA16247-A633-56C3-39C2-18D3AF7E991A}"/>
              </a:ext>
            </a:extLst>
          </p:cNvPr>
          <p:cNvSpPr>
            <a:spLocks noGrp="1"/>
          </p:cNvSpPr>
          <p:nvPr>
            <p:ph type="body" sz="quarter" idx="13"/>
          </p:nvPr>
        </p:nvSpPr>
        <p:spPr>
          <a:xfrm>
            <a:off x="623888" y="1773238"/>
            <a:ext cx="5472112" cy="4319587"/>
          </a:xfrm>
        </p:spPr>
        <p:txBody>
          <a:bodyPr/>
          <a:lstStyle/>
          <a:p>
            <a:r>
              <a:rPr lang="en-US"/>
              <a:t>Together with our partners, we are pioneers, trailblazers and future makers for digital business models and ecosystems.</a:t>
            </a:r>
          </a:p>
          <a:p>
            <a:endParaRPr lang="en-US"/>
          </a:p>
          <a:p>
            <a:r>
              <a:rPr lang="en-US"/>
              <a:t>Our goal is to assist companies in achieving their ambitious goals. This is why we at msg strive to build and maintain long-term and successful relationships with our business partners. </a:t>
            </a:r>
          </a:p>
        </p:txBody>
      </p:sp>
      <p:sp>
        <p:nvSpPr>
          <p:cNvPr id="3" name="Fußzeilenplatzhalter 1">
            <a:extLst>
              <a:ext uri="{FF2B5EF4-FFF2-40B4-BE49-F238E27FC236}">
                <a16:creationId xmlns:a16="http://schemas.microsoft.com/office/drawing/2014/main" id="{24204B63-1385-61CF-ACAB-60911FE333FB}"/>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110ED24F-DD9B-28FF-70AC-497044216426}"/>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31</a:t>
            </a:fld>
            <a:endParaRPr lang="de-DE"/>
          </a:p>
        </p:txBody>
      </p:sp>
      <p:sp>
        <p:nvSpPr>
          <p:cNvPr id="10" name="Diagonal liegende Ecken des Rechtecks abrunden 9">
            <a:extLst>
              <a:ext uri="{FF2B5EF4-FFF2-40B4-BE49-F238E27FC236}">
                <a16:creationId xmlns:a16="http://schemas.microsoft.com/office/drawing/2014/main" id="{8EA8B741-7F67-94F0-8F5F-0048C7472455}"/>
              </a:ext>
            </a:extLst>
          </p:cNvPr>
          <p:cNvSpPr/>
          <p:nvPr/>
        </p:nvSpPr>
        <p:spPr>
          <a:xfrm>
            <a:off x="6491287" y="1800921"/>
            <a:ext cx="5700713" cy="3553710"/>
          </a:xfrm>
          <a:prstGeom prst="round2DiagRect">
            <a:avLst>
              <a:gd name="adj1" fmla="val 0"/>
              <a:gd name="adj2" fmla="val 4822"/>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pic>
        <p:nvPicPr>
          <p:cNvPr id="2" name="Grafik 1" descr="SAP GoldPartner Grad R 250x250 V2">
            <a:extLst>
              <a:ext uri="{FF2B5EF4-FFF2-40B4-BE49-F238E27FC236}">
                <a16:creationId xmlns:a16="http://schemas.microsoft.com/office/drawing/2014/main" id="{54CFE48A-102A-5B0A-7C44-1AF7DD3F7AC3}"/>
              </a:ext>
            </a:extLst>
          </p:cNvPr>
          <p:cNvPicPr>
            <a:picLocks noChangeAspect="1"/>
          </p:cNvPicPr>
          <p:nvPr/>
        </p:nvPicPr>
        <p:blipFill rotWithShape="1">
          <a:blip r:embed="rId7"/>
          <a:srcRect t="14063" b="18888"/>
          <a:stretch/>
        </p:blipFill>
        <p:spPr>
          <a:xfrm>
            <a:off x="495363" y="4728710"/>
            <a:ext cx="999043" cy="669844"/>
          </a:xfrm>
          <a:prstGeom prst="rect">
            <a:avLst/>
          </a:prstGeom>
        </p:spPr>
      </p:pic>
      <p:pic>
        <p:nvPicPr>
          <p:cNvPr id="13" name="Grafik 12" descr="Logo Microsoft 250x250">
            <a:extLst>
              <a:ext uri="{FF2B5EF4-FFF2-40B4-BE49-F238E27FC236}">
                <a16:creationId xmlns:a16="http://schemas.microsoft.com/office/drawing/2014/main" id="{C530AE14-B641-DC12-ABE6-EC10096F846C}"/>
              </a:ext>
            </a:extLst>
          </p:cNvPr>
          <p:cNvPicPr>
            <a:picLocks noChangeAspect="1"/>
          </p:cNvPicPr>
          <p:nvPr/>
        </p:nvPicPr>
        <p:blipFill rotWithShape="1">
          <a:blip r:embed="rId8"/>
          <a:srcRect t="23594" b="31161"/>
          <a:stretch/>
        </p:blipFill>
        <p:spPr>
          <a:xfrm>
            <a:off x="2790190" y="4810443"/>
            <a:ext cx="1104800" cy="506378"/>
          </a:xfrm>
          <a:prstGeom prst="rect">
            <a:avLst/>
          </a:prstGeom>
        </p:spPr>
      </p:pic>
      <p:pic>
        <p:nvPicPr>
          <p:cNvPr id="14" name="Grafik 13">
            <a:extLst>
              <a:ext uri="{FF2B5EF4-FFF2-40B4-BE49-F238E27FC236}">
                <a16:creationId xmlns:a16="http://schemas.microsoft.com/office/drawing/2014/main" id="{244CE6FA-5B33-F583-79C3-BF721BC45921}"/>
              </a:ext>
            </a:extLst>
          </p:cNvPr>
          <p:cNvPicPr>
            <a:picLocks noChangeAspect="1"/>
          </p:cNvPicPr>
          <p:nvPr/>
        </p:nvPicPr>
        <p:blipFill>
          <a:blip r:embed="rId9"/>
          <a:srcRect/>
          <a:stretch/>
        </p:blipFill>
        <p:spPr>
          <a:xfrm>
            <a:off x="3970457" y="4744081"/>
            <a:ext cx="818420" cy="639102"/>
          </a:xfrm>
          <a:prstGeom prst="rect">
            <a:avLst/>
          </a:prstGeom>
        </p:spPr>
      </p:pic>
      <p:pic>
        <p:nvPicPr>
          <p:cNvPr id="5" name="Grafik 4">
            <a:extLst>
              <a:ext uri="{FF2B5EF4-FFF2-40B4-BE49-F238E27FC236}">
                <a16:creationId xmlns:a16="http://schemas.microsoft.com/office/drawing/2014/main" id="{DE8B9034-7B66-CC79-A3B6-F06016E07D5F}"/>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868334" y="4898872"/>
            <a:ext cx="559504" cy="335703"/>
          </a:xfrm>
          <a:prstGeom prst="rect">
            <a:avLst/>
          </a:prstGeom>
        </p:spPr>
      </p:pic>
    </p:spTree>
    <p:extLst>
      <p:ext uri="{BB962C8B-B14F-4D97-AF65-F5344CB8AC3E}">
        <p14:creationId xmlns:p14="http://schemas.microsoft.com/office/powerpoint/2010/main" val="313658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304CB58B-6861-85D9-FF31-D02BE08E5B82}"/>
              </a:ext>
            </a:extLst>
          </p:cNvPr>
          <p:cNvSpPr>
            <a:spLocks noGrp="1"/>
          </p:cNvSpPr>
          <p:nvPr>
            <p:ph type="body" sz="quarter" idx="12"/>
          </p:nvPr>
        </p:nvSpPr>
        <p:spPr>
          <a:xfrm>
            <a:off x="623888" y="296863"/>
            <a:ext cx="9488833" cy="169277"/>
          </a:xfrm>
        </p:spPr>
        <p:txBody>
          <a:bodyPr/>
          <a:lstStyle/>
          <a:p>
            <a:r>
              <a:rPr lang="de-DE" err="1"/>
              <a:t>Our</a:t>
            </a:r>
            <a:r>
              <a:rPr lang="de-DE"/>
              <a:t> </a:t>
            </a:r>
            <a:r>
              <a:rPr lang="de-DE" err="1"/>
              <a:t>strengths</a:t>
            </a:r>
            <a:r>
              <a:rPr lang="de-DE"/>
              <a:t>, </a:t>
            </a:r>
            <a:r>
              <a:rPr lang="de-DE" err="1"/>
              <a:t>your</a:t>
            </a:r>
            <a:r>
              <a:rPr lang="de-DE"/>
              <a:t> </a:t>
            </a:r>
            <a:r>
              <a:rPr lang="de-DE" err="1"/>
              <a:t>benefits</a:t>
            </a:r>
            <a:endParaRPr lang="de-DE"/>
          </a:p>
        </p:txBody>
      </p:sp>
      <p:sp>
        <p:nvSpPr>
          <p:cNvPr id="3" name="Titel 2">
            <a:extLst>
              <a:ext uri="{FF2B5EF4-FFF2-40B4-BE49-F238E27FC236}">
                <a16:creationId xmlns:a16="http://schemas.microsoft.com/office/drawing/2014/main" id="{D50991F6-4ABA-1EC2-38DB-878F079401BF}"/>
              </a:ext>
            </a:extLst>
          </p:cNvPr>
          <p:cNvSpPr>
            <a:spLocks noGrp="1"/>
          </p:cNvSpPr>
          <p:nvPr>
            <p:ph type="title"/>
          </p:nvPr>
        </p:nvSpPr>
        <p:spPr>
          <a:xfrm>
            <a:off x="623888" y="620713"/>
            <a:ext cx="10430556" cy="738187"/>
          </a:xfrm>
        </p:spPr>
        <p:txBody>
          <a:bodyPr/>
          <a:lstStyle/>
          <a:p>
            <a:r>
              <a:rPr lang="en-US" dirty="0"/>
              <a:t>Fostering an environment of </a:t>
            </a:r>
            <a:r>
              <a:rPr lang="en-US" b="1" dirty="0"/>
              <a:t>knowledge sharing and nurturing our partnerships </a:t>
            </a:r>
            <a:r>
              <a:rPr lang="en-US" dirty="0"/>
              <a:t>reflects our commitment to a sustainable business strategy</a:t>
            </a:r>
            <a:br>
              <a:rPr lang="en-US" dirty="0"/>
            </a:br>
            <a:br>
              <a:rPr lang="de-DE" dirty="0"/>
            </a:br>
            <a:endParaRPr lang="de-DE" dirty="0"/>
          </a:p>
        </p:txBody>
      </p:sp>
      <p:sp>
        <p:nvSpPr>
          <p:cNvPr id="12" name="Fußzeilenplatzhalter 1">
            <a:extLst>
              <a:ext uri="{FF2B5EF4-FFF2-40B4-BE49-F238E27FC236}">
                <a16:creationId xmlns:a16="http://schemas.microsoft.com/office/drawing/2014/main" id="{F1AA9049-071C-470A-3243-B993D57AB66C}"/>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32</a:t>
            </a:fld>
            <a:endParaRPr lang="de-DE"/>
          </a:p>
        </p:txBody>
      </p:sp>
      <p:pic>
        <p:nvPicPr>
          <p:cNvPr id="2" name="Grafik 1" descr="Ein Bild, das Screenshot, Licht enthält.&#10;&#10;Automatisch generierte Beschreibung">
            <a:extLst>
              <a:ext uri="{FF2B5EF4-FFF2-40B4-BE49-F238E27FC236}">
                <a16:creationId xmlns:a16="http://schemas.microsoft.com/office/drawing/2014/main" id="{CC31DDAF-DD4F-1233-3959-F65E07D48163}"/>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23888" y="2241689"/>
            <a:ext cx="11230597" cy="4067036"/>
          </a:xfrm>
          <a:prstGeom prst="round2DiagRect">
            <a:avLst>
              <a:gd name="adj1" fmla="val 345"/>
              <a:gd name="adj2" fmla="val 7371"/>
            </a:avLst>
          </a:prstGeom>
        </p:spPr>
      </p:pic>
      <p:sp>
        <p:nvSpPr>
          <p:cNvPr id="5" name="Textplatzhalter 14">
            <a:extLst>
              <a:ext uri="{FF2B5EF4-FFF2-40B4-BE49-F238E27FC236}">
                <a16:creationId xmlns:a16="http://schemas.microsoft.com/office/drawing/2014/main" id="{AFCB9EBA-D9BF-3824-AD04-49A190065FB3}"/>
              </a:ext>
            </a:extLst>
          </p:cNvPr>
          <p:cNvSpPr txBox="1">
            <a:spLocks/>
          </p:cNvSpPr>
          <p:nvPr/>
        </p:nvSpPr>
        <p:spPr>
          <a:xfrm>
            <a:off x="3777940" y="2472908"/>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etzwerk Chancen</a:t>
            </a:r>
          </a:p>
        </p:txBody>
      </p:sp>
      <p:sp>
        <p:nvSpPr>
          <p:cNvPr id="6" name="Textplatzhalter 14">
            <a:extLst>
              <a:ext uri="{FF2B5EF4-FFF2-40B4-BE49-F238E27FC236}">
                <a16:creationId xmlns:a16="http://schemas.microsoft.com/office/drawing/2014/main" id="{BAB8D15A-642B-3EB1-BD63-AC762BE7C43E}"/>
              </a:ext>
            </a:extLst>
          </p:cNvPr>
          <p:cNvSpPr txBox="1">
            <a:spLocks/>
          </p:cNvSpPr>
          <p:nvPr/>
        </p:nvSpPr>
        <p:spPr>
          <a:xfrm>
            <a:off x="3291819" y="2941661"/>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Charta der Vielfalt</a:t>
            </a:r>
          </a:p>
        </p:txBody>
      </p:sp>
      <p:sp>
        <p:nvSpPr>
          <p:cNvPr id="7" name="Textplatzhalter 14">
            <a:extLst>
              <a:ext uri="{FF2B5EF4-FFF2-40B4-BE49-F238E27FC236}">
                <a16:creationId xmlns:a16="http://schemas.microsoft.com/office/drawing/2014/main" id="{00842241-608F-682A-0B8B-BD89C211F810}"/>
              </a:ext>
            </a:extLst>
          </p:cNvPr>
          <p:cNvSpPr txBox="1">
            <a:spLocks/>
          </p:cNvSpPr>
          <p:nvPr/>
        </p:nvSpPr>
        <p:spPr>
          <a:xfrm>
            <a:off x="1579563" y="3410414"/>
            <a:ext cx="302202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Gesellschaft für Projektmanagement</a:t>
            </a:r>
          </a:p>
        </p:txBody>
      </p:sp>
      <p:sp>
        <p:nvSpPr>
          <p:cNvPr id="8" name="Textplatzhalter 14">
            <a:extLst>
              <a:ext uri="{FF2B5EF4-FFF2-40B4-BE49-F238E27FC236}">
                <a16:creationId xmlns:a16="http://schemas.microsoft.com/office/drawing/2014/main" id="{64BEA87A-9545-447C-3164-D0D8B834FD9B}"/>
              </a:ext>
            </a:extLst>
          </p:cNvPr>
          <p:cNvSpPr txBox="1">
            <a:spLocks/>
          </p:cNvSpPr>
          <p:nvPr/>
        </p:nvSpPr>
        <p:spPr>
          <a:xfrm>
            <a:off x="2323787" y="4853935"/>
            <a:ext cx="302202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nternational Data Spaces </a:t>
            </a:r>
            <a:r>
              <a:rPr lang="de-DE" sz="1400" err="1">
                <a:solidFill>
                  <a:schemeClr val="bg1"/>
                </a:solidFill>
                <a:cs typeface="Calibri"/>
              </a:rPr>
              <a:t>Association</a:t>
            </a:r>
            <a:endParaRPr lang="de-DE" sz="1400">
              <a:solidFill>
                <a:schemeClr val="bg1"/>
              </a:solidFill>
              <a:cs typeface="Calibri"/>
            </a:endParaRPr>
          </a:p>
        </p:txBody>
      </p:sp>
      <p:sp>
        <p:nvSpPr>
          <p:cNvPr id="10" name="Textplatzhalter 14">
            <a:extLst>
              <a:ext uri="{FF2B5EF4-FFF2-40B4-BE49-F238E27FC236}">
                <a16:creationId xmlns:a16="http://schemas.microsoft.com/office/drawing/2014/main" id="{7631DCA9-CC32-BFFE-912B-036706726BE0}"/>
              </a:ext>
            </a:extLst>
          </p:cNvPr>
          <p:cNvSpPr txBox="1">
            <a:spLocks/>
          </p:cNvSpPr>
          <p:nvPr/>
        </p:nvSpPr>
        <p:spPr>
          <a:xfrm>
            <a:off x="2831550" y="4385182"/>
            <a:ext cx="17459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err="1">
                <a:solidFill>
                  <a:schemeClr val="bg1"/>
                </a:solidFill>
                <a:cs typeface="Calibri"/>
              </a:rPr>
              <a:t>Queb</a:t>
            </a:r>
            <a:r>
              <a:rPr lang="de-DE" sz="1400">
                <a:solidFill>
                  <a:schemeClr val="bg1"/>
                </a:solidFill>
                <a:cs typeface="Calibri"/>
              </a:rPr>
              <a:t> Bundesverband</a:t>
            </a:r>
          </a:p>
        </p:txBody>
      </p:sp>
      <p:sp>
        <p:nvSpPr>
          <p:cNvPr id="24" name="Textplatzhalter 14">
            <a:extLst>
              <a:ext uri="{FF2B5EF4-FFF2-40B4-BE49-F238E27FC236}">
                <a16:creationId xmlns:a16="http://schemas.microsoft.com/office/drawing/2014/main" id="{6B24E696-95BF-0FF1-2296-E9AA22B07905}"/>
              </a:ext>
            </a:extLst>
          </p:cNvPr>
          <p:cNvSpPr txBox="1">
            <a:spLocks/>
          </p:cNvSpPr>
          <p:nvPr/>
        </p:nvSpPr>
        <p:spPr>
          <a:xfrm>
            <a:off x="3833103" y="5313036"/>
            <a:ext cx="17459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Master Data Alliance</a:t>
            </a:r>
          </a:p>
        </p:txBody>
      </p:sp>
      <p:grpSp>
        <p:nvGrpSpPr>
          <p:cNvPr id="30" name="Gruppieren 29">
            <a:extLst>
              <a:ext uri="{FF2B5EF4-FFF2-40B4-BE49-F238E27FC236}">
                <a16:creationId xmlns:a16="http://schemas.microsoft.com/office/drawing/2014/main" id="{D43BDA3B-EA3B-E696-C5ED-B4CFE750F020}"/>
              </a:ext>
            </a:extLst>
          </p:cNvPr>
          <p:cNvGrpSpPr/>
          <p:nvPr/>
        </p:nvGrpSpPr>
        <p:grpSpPr>
          <a:xfrm>
            <a:off x="2328731" y="3897798"/>
            <a:ext cx="2192304" cy="359608"/>
            <a:chOff x="2184268" y="3897798"/>
            <a:chExt cx="2192304" cy="359608"/>
          </a:xfrm>
        </p:grpSpPr>
        <p:sp>
          <p:nvSpPr>
            <p:cNvPr id="31" name="Textplatzhalter 14">
              <a:extLst>
                <a:ext uri="{FF2B5EF4-FFF2-40B4-BE49-F238E27FC236}">
                  <a16:creationId xmlns:a16="http://schemas.microsoft.com/office/drawing/2014/main" id="{52200E10-5151-06D5-2245-28DD27BD59B6}"/>
                </a:ext>
              </a:extLst>
            </p:cNvPr>
            <p:cNvSpPr txBox="1">
              <a:spLocks/>
            </p:cNvSpPr>
            <p:nvPr/>
          </p:nvSpPr>
          <p:spPr>
            <a:xfrm>
              <a:off x="3643907" y="3897798"/>
              <a:ext cx="732665"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err="1">
                  <a:solidFill>
                    <a:schemeClr val="bg1"/>
                  </a:solidFill>
                  <a:cs typeface="Calibri"/>
                </a:rPr>
                <a:t>BiPRO</a:t>
              </a:r>
              <a:endParaRPr lang="de-DE" sz="1400">
                <a:solidFill>
                  <a:schemeClr val="bg1"/>
                </a:solidFill>
                <a:cs typeface="Calibri"/>
              </a:endParaRPr>
            </a:p>
          </p:txBody>
        </p:sp>
        <p:sp>
          <p:nvSpPr>
            <p:cNvPr id="32" name="Textplatzhalter 14">
              <a:extLst>
                <a:ext uri="{FF2B5EF4-FFF2-40B4-BE49-F238E27FC236}">
                  <a16:creationId xmlns:a16="http://schemas.microsoft.com/office/drawing/2014/main" id="{FD358020-B563-2AB2-63A2-B90576155774}"/>
                </a:ext>
              </a:extLst>
            </p:cNvPr>
            <p:cNvSpPr txBox="1">
              <a:spLocks/>
            </p:cNvSpPr>
            <p:nvPr/>
          </p:nvSpPr>
          <p:spPr>
            <a:xfrm>
              <a:off x="2952778" y="3900449"/>
              <a:ext cx="60726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PMA</a:t>
              </a:r>
            </a:p>
          </p:txBody>
        </p:sp>
        <p:sp>
          <p:nvSpPr>
            <p:cNvPr id="33" name="Textplatzhalter 14">
              <a:extLst>
                <a:ext uri="{FF2B5EF4-FFF2-40B4-BE49-F238E27FC236}">
                  <a16:creationId xmlns:a16="http://schemas.microsoft.com/office/drawing/2014/main" id="{7C8BA815-F7CF-97CB-FAA4-81E706A4E95B}"/>
                </a:ext>
              </a:extLst>
            </p:cNvPr>
            <p:cNvSpPr txBox="1">
              <a:spLocks/>
            </p:cNvSpPr>
            <p:nvPr/>
          </p:nvSpPr>
          <p:spPr>
            <a:xfrm>
              <a:off x="2184268" y="3897798"/>
              <a:ext cx="67953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DSAG</a:t>
              </a:r>
            </a:p>
          </p:txBody>
        </p:sp>
      </p:grpSp>
      <p:sp>
        <p:nvSpPr>
          <p:cNvPr id="34" name="Textplatzhalter 14">
            <a:extLst>
              <a:ext uri="{FF2B5EF4-FFF2-40B4-BE49-F238E27FC236}">
                <a16:creationId xmlns:a16="http://schemas.microsoft.com/office/drawing/2014/main" id="{8710A5E9-4FC1-A478-094F-87DF54F6580B}"/>
              </a:ext>
            </a:extLst>
          </p:cNvPr>
          <p:cNvSpPr txBox="1">
            <a:spLocks/>
          </p:cNvSpPr>
          <p:nvPr/>
        </p:nvSpPr>
        <p:spPr>
          <a:xfrm>
            <a:off x="4518195" y="5766351"/>
            <a:ext cx="159958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UN Global Compact</a:t>
            </a:r>
          </a:p>
        </p:txBody>
      </p:sp>
      <p:sp>
        <p:nvSpPr>
          <p:cNvPr id="35" name="Textplatzhalter 14">
            <a:extLst>
              <a:ext uri="{FF2B5EF4-FFF2-40B4-BE49-F238E27FC236}">
                <a16:creationId xmlns:a16="http://schemas.microsoft.com/office/drawing/2014/main" id="{CB744A06-79AD-F371-93ED-BBDFAEB0DD53}"/>
              </a:ext>
            </a:extLst>
          </p:cNvPr>
          <p:cNvSpPr txBox="1">
            <a:spLocks/>
          </p:cNvSpPr>
          <p:nvPr/>
        </p:nvSpPr>
        <p:spPr>
          <a:xfrm>
            <a:off x="8209590" y="3420259"/>
            <a:ext cx="1202724"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nitiative D21</a:t>
            </a:r>
          </a:p>
        </p:txBody>
      </p:sp>
      <p:sp>
        <p:nvSpPr>
          <p:cNvPr id="36" name="Textplatzhalter 14">
            <a:extLst>
              <a:ext uri="{FF2B5EF4-FFF2-40B4-BE49-F238E27FC236}">
                <a16:creationId xmlns:a16="http://schemas.microsoft.com/office/drawing/2014/main" id="{F1C07F66-DF90-6DC3-A937-6367D8B6E4DD}"/>
              </a:ext>
            </a:extLst>
          </p:cNvPr>
          <p:cNvSpPr txBox="1">
            <a:spLocks/>
          </p:cNvSpPr>
          <p:nvPr/>
        </p:nvSpPr>
        <p:spPr>
          <a:xfrm>
            <a:off x="8125294" y="4342896"/>
            <a:ext cx="271188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Catena-X Automotive Network e.V.</a:t>
            </a:r>
          </a:p>
        </p:txBody>
      </p:sp>
      <p:grpSp>
        <p:nvGrpSpPr>
          <p:cNvPr id="37" name="Gruppieren 36">
            <a:extLst>
              <a:ext uri="{FF2B5EF4-FFF2-40B4-BE49-F238E27FC236}">
                <a16:creationId xmlns:a16="http://schemas.microsoft.com/office/drawing/2014/main" id="{A39DA9EA-6915-837F-C759-60A1EF92CD72}"/>
              </a:ext>
            </a:extLst>
          </p:cNvPr>
          <p:cNvGrpSpPr/>
          <p:nvPr/>
        </p:nvGrpSpPr>
        <p:grpSpPr>
          <a:xfrm>
            <a:off x="8004545" y="2945947"/>
            <a:ext cx="2334948" cy="361712"/>
            <a:chOff x="7860082" y="2945947"/>
            <a:chExt cx="2334948" cy="361712"/>
          </a:xfrm>
        </p:grpSpPr>
        <p:sp>
          <p:nvSpPr>
            <p:cNvPr id="38" name="Textplatzhalter 14">
              <a:extLst>
                <a:ext uri="{FF2B5EF4-FFF2-40B4-BE49-F238E27FC236}">
                  <a16:creationId xmlns:a16="http://schemas.microsoft.com/office/drawing/2014/main" id="{FCF4DEEA-5DA1-0F05-622D-3DCD5F84B150}"/>
                </a:ext>
              </a:extLst>
            </p:cNvPr>
            <p:cNvSpPr txBox="1">
              <a:spLocks/>
            </p:cNvSpPr>
            <p:nvPr/>
          </p:nvSpPr>
          <p:spPr>
            <a:xfrm>
              <a:off x="7860082" y="2950702"/>
              <a:ext cx="65843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GEZ</a:t>
              </a:r>
            </a:p>
          </p:txBody>
        </p:sp>
        <p:sp>
          <p:nvSpPr>
            <p:cNvPr id="39" name="Textplatzhalter 14">
              <a:extLst>
                <a:ext uri="{FF2B5EF4-FFF2-40B4-BE49-F238E27FC236}">
                  <a16:creationId xmlns:a16="http://schemas.microsoft.com/office/drawing/2014/main" id="{D1307B63-467B-A137-1833-534E957BF4CA}"/>
                </a:ext>
              </a:extLst>
            </p:cNvPr>
            <p:cNvSpPr txBox="1">
              <a:spLocks/>
            </p:cNvSpPr>
            <p:nvPr/>
          </p:nvSpPr>
          <p:spPr>
            <a:xfrm>
              <a:off x="8597447" y="2950702"/>
              <a:ext cx="783849"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Bitkom</a:t>
              </a:r>
            </a:p>
          </p:txBody>
        </p:sp>
        <p:sp>
          <p:nvSpPr>
            <p:cNvPr id="40" name="Textplatzhalter 14">
              <a:extLst>
                <a:ext uri="{FF2B5EF4-FFF2-40B4-BE49-F238E27FC236}">
                  <a16:creationId xmlns:a16="http://schemas.microsoft.com/office/drawing/2014/main" id="{49C4AC8E-3FED-798E-9E30-782B0D78AF89}"/>
                </a:ext>
              </a:extLst>
            </p:cNvPr>
            <p:cNvSpPr txBox="1">
              <a:spLocks/>
            </p:cNvSpPr>
            <p:nvPr/>
          </p:nvSpPr>
          <p:spPr>
            <a:xfrm>
              <a:off x="9460225" y="2945947"/>
              <a:ext cx="734805"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Gaia-X</a:t>
              </a:r>
            </a:p>
          </p:txBody>
        </p:sp>
      </p:grpSp>
      <p:sp>
        <p:nvSpPr>
          <p:cNvPr id="49" name="Textplatzhalter 14">
            <a:extLst>
              <a:ext uri="{FF2B5EF4-FFF2-40B4-BE49-F238E27FC236}">
                <a16:creationId xmlns:a16="http://schemas.microsoft.com/office/drawing/2014/main" id="{CB3569F5-EE16-EAFB-CEDC-47F1E6811DA1}"/>
              </a:ext>
            </a:extLst>
          </p:cNvPr>
          <p:cNvSpPr txBox="1">
            <a:spLocks/>
          </p:cNvSpPr>
          <p:nvPr/>
        </p:nvSpPr>
        <p:spPr>
          <a:xfrm>
            <a:off x="8333763" y="3873340"/>
            <a:ext cx="21337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Allianz für Cyber-Sicherheit</a:t>
            </a:r>
          </a:p>
        </p:txBody>
      </p:sp>
      <p:sp>
        <p:nvSpPr>
          <p:cNvPr id="50" name="Textplatzhalter 14">
            <a:extLst>
              <a:ext uri="{FF2B5EF4-FFF2-40B4-BE49-F238E27FC236}">
                <a16:creationId xmlns:a16="http://schemas.microsoft.com/office/drawing/2014/main" id="{B0ABAB83-33A5-7FB0-982A-68A13559E2F4}"/>
              </a:ext>
            </a:extLst>
          </p:cNvPr>
          <p:cNvSpPr txBox="1">
            <a:spLocks/>
          </p:cNvSpPr>
          <p:nvPr/>
        </p:nvSpPr>
        <p:spPr>
          <a:xfrm>
            <a:off x="7970102" y="4795977"/>
            <a:ext cx="2188612"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etzwerk Smart City Berlin</a:t>
            </a:r>
          </a:p>
        </p:txBody>
      </p:sp>
      <p:sp>
        <p:nvSpPr>
          <p:cNvPr id="51" name="Textplatzhalter 14">
            <a:extLst>
              <a:ext uri="{FF2B5EF4-FFF2-40B4-BE49-F238E27FC236}">
                <a16:creationId xmlns:a16="http://schemas.microsoft.com/office/drawing/2014/main" id="{C4547FA6-BD9C-E091-6B15-A897F0948827}"/>
              </a:ext>
            </a:extLst>
          </p:cNvPr>
          <p:cNvSpPr txBox="1">
            <a:spLocks/>
          </p:cNvSpPr>
          <p:nvPr/>
        </p:nvSpPr>
        <p:spPr>
          <a:xfrm>
            <a:off x="7863453" y="5743329"/>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Aleph Alpha</a:t>
            </a:r>
          </a:p>
        </p:txBody>
      </p:sp>
      <p:grpSp>
        <p:nvGrpSpPr>
          <p:cNvPr id="52" name="Gruppieren 51">
            <a:extLst>
              <a:ext uri="{FF2B5EF4-FFF2-40B4-BE49-F238E27FC236}">
                <a16:creationId xmlns:a16="http://schemas.microsoft.com/office/drawing/2014/main" id="{1749CD0F-EDA1-D8FE-9F57-4B8EB4A67F85}"/>
              </a:ext>
            </a:extLst>
          </p:cNvPr>
          <p:cNvGrpSpPr/>
          <p:nvPr/>
        </p:nvGrpSpPr>
        <p:grpSpPr>
          <a:xfrm>
            <a:off x="7647219" y="5265534"/>
            <a:ext cx="2415884" cy="356957"/>
            <a:chOff x="7502756" y="5265534"/>
            <a:chExt cx="2415884" cy="356957"/>
          </a:xfrm>
        </p:grpSpPr>
        <p:sp>
          <p:nvSpPr>
            <p:cNvPr id="53" name="Textplatzhalter 14">
              <a:extLst>
                <a:ext uri="{FF2B5EF4-FFF2-40B4-BE49-F238E27FC236}">
                  <a16:creationId xmlns:a16="http://schemas.microsoft.com/office/drawing/2014/main" id="{E9F059E3-F6B5-1950-C43D-2FC022CEA80B}"/>
                </a:ext>
              </a:extLst>
            </p:cNvPr>
            <p:cNvSpPr txBox="1">
              <a:spLocks/>
            </p:cNvSpPr>
            <p:nvPr/>
          </p:nvSpPr>
          <p:spPr>
            <a:xfrm>
              <a:off x="7502756" y="5265534"/>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Projekt EMIL</a:t>
              </a:r>
            </a:p>
          </p:txBody>
        </p:sp>
        <p:sp>
          <p:nvSpPr>
            <p:cNvPr id="54" name="Textplatzhalter 14">
              <a:extLst>
                <a:ext uri="{FF2B5EF4-FFF2-40B4-BE49-F238E27FC236}">
                  <a16:creationId xmlns:a16="http://schemas.microsoft.com/office/drawing/2014/main" id="{DA993789-5C42-22EC-BCCD-C5E5AE368F13}"/>
                </a:ext>
              </a:extLst>
            </p:cNvPr>
            <p:cNvSpPr txBox="1">
              <a:spLocks/>
            </p:cNvSpPr>
            <p:nvPr/>
          </p:nvSpPr>
          <p:spPr>
            <a:xfrm>
              <a:off x="8754907" y="5265534"/>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Marco Polo</a:t>
              </a:r>
            </a:p>
          </p:txBody>
        </p:sp>
      </p:grpSp>
      <p:sp>
        <p:nvSpPr>
          <p:cNvPr id="56" name="Textplatzhalter 14">
            <a:extLst>
              <a:ext uri="{FF2B5EF4-FFF2-40B4-BE49-F238E27FC236}">
                <a16:creationId xmlns:a16="http://schemas.microsoft.com/office/drawing/2014/main" id="{D7F9103F-C3C6-9F6D-F132-E697387E2C3C}"/>
              </a:ext>
            </a:extLst>
          </p:cNvPr>
          <p:cNvSpPr txBox="1">
            <a:spLocks/>
          </p:cNvSpPr>
          <p:nvPr/>
        </p:nvSpPr>
        <p:spPr>
          <a:xfrm>
            <a:off x="7645791" y="2487671"/>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KI Bundesverband</a:t>
            </a:r>
          </a:p>
        </p:txBody>
      </p:sp>
      <p:sp>
        <p:nvSpPr>
          <p:cNvPr id="11" name="Textplatzhalter 14">
            <a:extLst>
              <a:ext uri="{FF2B5EF4-FFF2-40B4-BE49-F238E27FC236}">
                <a16:creationId xmlns:a16="http://schemas.microsoft.com/office/drawing/2014/main" id="{1412E3B1-3E51-77E2-6D8F-7607006E1BD4}"/>
              </a:ext>
            </a:extLst>
          </p:cNvPr>
          <p:cNvSpPr txBox="1">
            <a:spLocks/>
          </p:cNvSpPr>
          <p:nvPr/>
        </p:nvSpPr>
        <p:spPr>
          <a:xfrm>
            <a:off x="658812" y="1765428"/>
            <a:ext cx="11230597" cy="44467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90000"/>
              </a:lnSpc>
            </a:pPr>
            <a:r>
              <a:rPr lang="en-US" sz="1600"/>
              <a:t>As an independent and globally operating group of companies with a 40-year history, we see ourselves as trailblazers of a digital future – in a spirit of partnership and sustainability.</a:t>
            </a:r>
          </a:p>
        </p:txBody>
      </p:sp>
    </p:spTree>
    <p:extLst>
      <p:ext uri="{BB962C8B-B14F-4D97-AF65-F5344CB8AC3E}">
        <p14:creationId xmlns:p14="http://schemas.microsoft.com/office/powerpoint/2010/main" val="3271739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0-#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0-#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nodeType="afterEffect">
                                  <p:stCondLst>
                                    <p:cond delay="0"/>
                                  </p:stCondLst>
                                  <p:childTnLst>
                                    <p:set>
                                      <p:cBhvr>
                                        <p:cTn id="21" dur="1" fill="hold">
                                          <p:stCondLst>
                                            <p:cond delay="0"/>
                                          </p:stCondLst>
                                        </p:cTn>
                                        <p:tgtEl>
                                          <p:spTgt spid="30"/>
                                        </p:tgtEl>
                                        <p:attrNameLst>
                                          <p:attrName>style.visibility</p:attrName>
                                        </p:attrNameLst>
                                      </p:cBhvr>
                                      <p:to>
                                        <p:strVal val="visible"/>
                                      </p:to>
                                    </p:set>
                                    <p:anim calcmode="lin" valueType="num">
                                      <p:cBhvr additive="base">
                                        <p:cTn id="22" dur="500" fill="hold"/>
                                        <p:tgtEl>
                                          <p:spTgt spid="30"/>
                                        </p:tgtEl>
                                        <p:attrNameLst>
                                          <p:attrName>ppt_x</p:attrName>
                                        </p:attrNameLst>
                                      </p:cBhvr>
                                      <p:tavLst>
                                        <p:tav tm="0">
                                          <p:val>
                                            <p:strVal val="0-#ppt_w/2"/>
                                          </p:val>
                                        </p:tav>
                                        <p:tav tm="100000">
                                          <p:val>
                                            <p:strVal val="#ppt_x"/>
                                          </p:val>
                                        </p:tav>
                                      </p:tavLst>
                                    </p:anim>
                                    <p:anim calcmode="lin" valueType="num">
                                      <p:cBhvr additive="base">
                                        <p:cTn id="23" dur="500" fill="hold"/>
                                        <p:tgtEl>
                                          <p:spTgt spid="30"/>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0-#ppt_w/2"/>
                                          </p:val>
                                        </p:tav>
                                        <p:tav tm="100000">
                                          <p:val>
                                            <p:strVal val="#ppt_x"/>
                                          </p:val>
                                        </p:tav>
                                      </p:tavLst>
                                    </p:anim>
                                    <p:anim calcmode="lin" valueType="num">
                                      <p:cBhvr additive="base">
                                        <p:cTn id="28" dur="500" fill="hold"/>
                                        <p:tgtEl>
                                          <p:spTgt spid="10"/>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 calcmode="lin" valueType="num">
                                      <p:cBhvr additive="base">
                                        <p:cTn id="32" dur="500" fill="hold"/>
                                        <p:tgtEl>
                                          <p:spTgt spid="8"/>
                                        </p:tgtEl>
                                        <p:attrNameLst>
                                          <p:attrName>ppt_x</p:attrName>
                                        </p:attrNameLst>
                                      </p:cBhvr>
                                      <p:tavLst>
                                        <p:tav tm="0">
                                          <p:val>
                                            <p:strVal val="0-#ppt_w/2"/>
                                          </p:val>
                                        </p:tav>
                                        <p:tav tm="100000">
                                          <p:val>
                                            <p:strVal val="#ppt_x"/>
                                          </p:val>
                                        </p:tav>
                                      </p:tavLst>
                                    </p:anim>
                                    <p:anim calcmode="lin" valueType="num">
                                      <p:cBhvr additive="base">
                                        <p:cTn id="33" dur="500" fill="hold"/>
                                        <p:tgtEl>
                                          <p:spTgt spid="8"/>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8" fill="hold" grpId="0" nodeType="after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0-#ppt_w/2"/>
                                          </p:val>
                                        </p:tav>
                                        <p:tav tm="100000">
                                          <p:val>
                                            <p:strVal val="#ppt_x"/>
                                          </p:val>
                                        </p:tav>
                                      </p:tavLst>
                                    </p:anim>
                                    <p:anim calcmode="lin" valueType="num">
                                      <p:cBhvr additive="base">
                                        <p:cTn id="38" dur="500" fill="hold"/>
                                        <p:tgtEl>
                                          <p:spTgt spid="24"/>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8" fill="hold" grpId="0" nodeType="afterEffect">
                                  <p:stCondLst>
                                    <p:cond delay="0"/>
                                  </p:stCondLst>
                                  <p:childTnLst>
                                    <p:set>
                                      <p:cBhvr>
                                        <p:cTn id="41" dur="1" fill="hold">
                                          <p:stCondLst>
                                            <p:cond delay="0"/>
                                          </p:stCondLst>
                                        </p:cTn>
                                        <p:tgtEl>
                                          <p:spTgt spid="34"/>
                                        </p:tgtEl>
                                        <p:attrNameLst>
                                          <p:attrName>style.visibility</p:attrName>
                                        </p:attrNameLst>
                                      </p:cBhvr>
                                      <p:to>
                                        <p:strVal val="visible"/>
                                      </p:to>
                                    </p:set>
                                    <p:anim calcmode="lin" valueType="num">
                                      <p:cBhvr additive="base">
                                        <p:cTn id="42" dur="500" fill="hold"/>
                                        <p:tgtEl>
                                          <p:spTgt spid="34"/>
                                        </p:tgtEl>
                                        <p:attrNameLst>
                                          <p:attrName>ppt_x</p:attrName>
                                        </p:attrNameLst>
                                      </p:cBhvr>
                                      <p:tavLst>
                                        <p:tav tm="0">
                                          <p:val>
                                            <p:strVal val="0-#ppt_w/2"/>
                                          </p:val>
                                        </p:tav>
                                        <p:tav tm="100000">
                                          <p:val>
                                            <p:strVal val="#ppt_x"/>
                                          </p:val>
                                        </p:tav>
                                      </p:tavLst>
                                    </p:anim>
                                    <p:anim calcmode="lin" valueType="num">
                                      <p:cBhvr additive="base">
                                        <p:cTn id="43" dur="500" fill="hold"/>
                                        <p:tgtEl>
                                          <p:spTgt spid="34"/>
                                        </p:tgtEl>
                                        <p:attrNameLst>
                                          <p:attrName>ppt_y</p:attrName>
                                        </p:attrNameLst>
                                      </p:cBhvr>
                                      <p:tavLst>
                                        <p:tav tm="0">
                                          <p:val>
                                            <p:strVal val="#ppt_y"/>
                                          </p:val>
                                        </p:tav>
                                        <p:tav tm="100000">
                                          <p:val>
                                            <p:strVal val="#ppt_y"/>
                                          </p:val>
                                        </p:tav>
                                      </p:tavLst>
                                    </p:anim>
                                  </p:childTnLst>
                                </p:cTn>
                              </p:par>
                            </p:childTnLst>
                          </p:cTn>
                        </p:par>
                        <p:par>
                          <p:cTn id="44" fill="hold">
                            <p:stCondLst>
                              <p:cond delay="4000"/>
                            </p:stCondLst>
                            <p:childTnLst>
                              <p:par>
                                <p:cTn id="45" presetID="2" presetClass="entr" presetSubtype="2" fill="hold" grpId="0" nodeType="afterEffect">
                                  <p:stCondLst>
                                    <p:cond delay="0"/>
                                  </p:stCondLst>
                                  <p:childTnLst>
                                    <p:set>
                                      <p:cBhvr>
                                        <p:cTn id="46" dur="1" fill="hold">
                                          <p:stCondLst>
                                            <p:cond delay="0"/>
                                          </p:stCondLst>
                                        </p:cTn>
                                        <p:tgtEl>
                                          <p:spTgt spid="56"/>
                                        </p:tgtEl>
                                        <p:attrNameLst>
                                          <p:attrName>style.visibility</p:attrName>
                                        </p:attrNameLst>
                                      </p:cBhvr>
                                      <p:to>
                                        <p:strVal val="visible"/>
                                      </p:to>
                                    </p:set>
                                    <p:anim calcmode="lin" valueType="num">
                                      <p:cBhvr additive="base">
                                        <p:cTn id="47" dur="500" fill="hold"/>
                                        <p:tgtEl>
                                          <p:spTgt spid="56"/>
                                        </p:tgtEl>
                                        <p:attrNameLst>
                                          <p:attrName>ppt_x</p:attrName>
                                        </p:attrNameLst>
                                      </p:cBhvr>
                                      <p:tavLst>
                                        <p:tav tm="0">
                                          <p:val>
                                            <p:strVal val="1+#ppt_w/2"/>
                                          </p:val>
                                        </p:tav>
                                        <p:tav tm="100000">
                                          <p:val>
                                            <p:strVal val="#ppt_x"/>
                                          </p:val>
                                        </p:tav>
                                      </p:tavLst>
                                    </p:anim>
                                    <p:anim calcmode="lin" valueType="num">
                                      <p:cBhvr additive="base">
                                        <p:cTn id="48" dur="500" fill="hold"/>
                                        <p:tgtEl>
                                          <p:spTgt spid="56"/>
                                        </p:tgtEl>
                                        <p:attrNameLst>
                                          <p:attrName>ppt_y</p:attrName>
                                        </p:attrNameLst>
                                      </p:cBhvr>
                                      <p:tavLst>
                                        <p:tav tm="0">
                                          <p:val>
                                            <p:strVal val="#ppt_y"/>
                                          </p:val>
                                        </p:tav>
                                        <p:tav tm="100000">
                                          <p:val>
                                            <p:strVal val="#ppt_y"/>
                                          </p:val>
                                        </p:tav>
                                      </p:tavLst>
                                    </p:anim>
                                  </p:childTnLst>
                                </p:cTn>
                              </p:par>
                            </p:childTnLst>
                          </p:cTn>
                        </p:par>
                        <p:par>
                          <p:cTn id="49" fill="hold">
                            <p:stCondLst>
                              <p:cond delay="4500"/>
                            </p:stCondLst>
                            <p:childTnLst>
                              <p:par>
                                <p:cTn id="50" presetID="2" presetClass="entr" presetSubtype="2" fill="hold" nodeType="afterEffect">
                                  <p:stCondLst>
                                    <p:cond delay="0"/>
                                  </p:stCondLst>
                                  <p:childTnLst>
                                    <p:set>
                                      <p:cBhvr>
                                        <p:cTn id="51" dur="1" fill="hold">
                                          <p:stCondLst>
                                            <p:cond delay="0"/>
                                          </p:stCondLst>
                                        </p:cTn>
                                        <p:tgtEl>
                                          <p:spTgt spid="37"/>
                                        </p:tgtEl>
                                        <p:attrNameLst>
                                          <p:attrName>style.visibility</p:attrName>
                                        </p:attrNameLst>
                                      </p:cBhvr>
                                      <p:to>
                                        <p:strVal val="visible"/>
                                      </p:to>
                                    </p:set>
                                    <p:anim calcmode="lin" valueType="num">
                                      <p:cBhvr additive="base">
                                        <p:cTn id="52" dur="500" fill="hold"/>
                                        <p:tgtEl>
                                          <p:spTgt spid="37"/>
                                        </p:tgtEl>
                                        <p:attrNameLst>
                                          <p:attrName>ppt_x</p:attrName>
                                        </p:attrNameLst>
                                      </p:cBhvr>
                                      <p:tavLst>
                                        <p:tav tm="0">
                                          <p:val>
                                            <p:strVal val="1+#ppt_w/2"/>
                                          </p:val>
                                        </p:tav>
                                        <p:tav tm="100000">
                                          <p:val>
                                            <p:strVal val="#ppt_x"/>
                                          </p:val>
                                        </p:tav>
                                      </p:tavLst>
                                    </p:anim>
                                    <p:anim calcmode="lin" valueType="num">
                                      <p:cBhvr additive="base">
                                        <p:cTn id="53" dur="500" fill="hold"/>
                                        <p:tgtEl>
                                          <p:spTgt spid="37"/>
                                        </p:tgtEl>
                                        <p:attrNameLst>
                                          <p:attrName>ppt_y</p:attrName>
                                        </p:attrNameLst>
                                      </p:cBhvr>
                                      <p:tavLst>
                                        <p:tav tm="0">
                                          <p:val>
                                            <p:strVal val="#ppt_y"/>
                                          </p:val>
                                        </p:tav>
                                        <p:tav tm="100000">
                                          <p:val>
                                            <p:strVal val="#ppt_y"/>
                                          </p:val>
                                        </p:tav>
                                      </p:tavLst>
                                    </p:anim>
                                  </p:childTnLst>
                                </p:cTn>
                              </p:par>
                            </p:childTnLst>
                          </p:cTn>
                        </p:par>
                        <p:par>
                          <p:cTn id="54" fill="hold">
                            <p:stCondLst>
                              <p:cond delay="5000"/>
                            </p:stCondLst>
                            <p:childTnLst>
                              <p:par>
                                <p:cTn id="55" presetID="2" presetClass="entr" presetSubtype="2" fill="hold" grpId="0" nodeType="afterEffect">
                                  <p:stCondLst>
                                    <p:cond delay="0"/>
                                  </p:stCondLst>
                                  <p:childTnLst>
                                    <p:set>
                                      <p:cBhvr>
                                        <p:cTn id="56" dur="1" fill="hold">
                                          <p:stCondLst>
                                            <p:cond delay="0"/>
                                          </p:stCondLst>
                                        </p:cTn>
                                        <p:tgtEl>
                                          <p:spTgt spid="35"/>
                                        </p:tgtEl>
                                        <p:attrNameLst>
                                          <p:attrName>style.visibility</p:attrName>
                                        </p:attrNameLst>
                                      </p:cBhvr>
                                      <p:to>
                                        <p:strVal val="visible"/>
                                      </p:to>
                                    </p:set>
                                    <p:anim calcmode="lin" valueType="num">
                                      <p:cBhvr additive="base">
                                        <p:cTn id="57" dur="500" fill="hold"/>
                                        <p:tgtEl>
                                          <p:spTgt spid="35"/>
                                        </p:tgtEl>
                                        <p:attrNameLst>
                                          <p:attrName>ppt_x</p:attrName>
                                        </p:attrNameLst>
                                      </p:cBhvr>
                                      <p:tavLst>
                                        <p:tav tm="0">
                                          <p:val>
                                            <p:strVal val="1+#ppt_w/2"/>
                                          </p:val>
                                        </p:tav>
                                        <p:tav tm="100000">
                                          <p:val>
                                            <p:strVal val="#ppt_x"/>
                                          </p:val>
                                        </p:tav>
                                      </p:tavLst>
                                    </p:anim>
                                    <p:anim calcmode="lin" valueType="num">
                                      <p:cBhvr additive="base">
                                        <p:cTn id="58" dur="500" fill="hold"/>
                                        <p:tgtEl>
                                          <p:spTgt spid="35"/>
                                        </p:tgtEl>
                                        <p:attrNameLst>
                                          <p:attrName>ppt_y</p:attrName>
                                        </p:attrNameLst>
                                      </p:cBhvr>
                                      <p:tavLst>
                                        <p:tav tm="0">
                                          <p:val>
                                            <p:strVal val="#ppt_y"/>
                                          </p:val>
                                        </p:tav>
                                        <p:tav tm="100000">
                                          <p:val>
                                            <p:strVal val="#ppt_y"/>
                                          </p:val>
                                        </p:tav>
                                      </p:tavLst>
                                    </p:anim>
                                  </p:childTnLst>
                                </p:cTn>
                              </p:par>
                            </p:childTnLst>
                          </p:cTn>
                        </p:par>
                        <p:par>
                          <p:cTn id="59" fill="hold">
                            <p:stCondLst>
                              <p:cond delay="5500"/>
                            </p:stCondLst>
                            <p:childTnLst>
                              <p:par>
                                <p:cTn id="60" presetID="2" presetClass="entr" presetSubtype="2" fill="hold" grpId="0" nodeType="afterEffect">
                                  <p:stCondLst>
                                    <p:cond delay="0"/>
                                  </p:stCondLst>
                                  <p:childTnLst>
                                    <p:set>
                                      <p:cBhvr>
                                        <p:cTn id="61" dur="1" fill="hold">
                                          <p:stCondLst>
                                            <p:cond delay="0"/>
                                          </p:stCondLst>
                                        </p:cTn>
                                        <p:tgtEl>
                                          <p:spTgt spid="49"/>
                                        </p:tgtEl>
                                        <p:attrNameLst>
                                          <p:attrName>style.visibility</p:attrName>
                                        </p:attrNameLst>
                                      </p:cBhvr>
                                      <p:to>
                                        <p:strVal val="visible"/>
                                      </p:to>
                                    </p:set>
                                    <p:anim calcmode="lin" valueType="num">
                                      <p:cBhvr additive="base">
                                        <p:cTn id="62" dur="500" fill="hold"/>
                                        <p:tgtEl>
                                          <p:spTgt spid="49"/>
                                        </p:tgtEl>
                                        <p:attrNameLst>
                                          <p:attrName>ppt_x</p:attrName>
                                        </p:attrNameLst>
                                      </p:cBhvr>
                                      <p:tavLst>
                                        <p:tav tm="0">
                                          <p:val>
                                            <p:strVal val="1+#ppt_w/2"/>
                                          </p:val>
                                        </p:tav>
                                        <p:tav tm="100000">
                                          <p:val>
                                            <p:strVal val="#ppt_x"/>
                                          </p:val>
                                        </p:tav>
                                      </p:tavLst>
                                    </p:anim>
                                    <p:anim calcmode="lin" valueType="num">
                                      <p:cBhvr additive="base">
                                        <p:cTn id="63" dur="500" fill="hold"/>
                                        <p:tgtEl>
                                          <p:spTgt spid="49"/>
                                        </p:tgtEl>
                                        <p:attrNameLst>
                                          <p:attrName>ppt_y</p:attrName>
                                        </p:attrNameLst>
                                      </p:cBhvr>
                                      <p:tavLst>
                                        <p:tav tm="0">
                                          <p:val>
                                            <p:strVal val="#ppt_y"/>
                                          </p:val>
                                        </p:tav>
                                        <p:tav tm="100000">
                                          <p:val>
                                            <p:strVal val="#ppt_y"/>
                                          </p:val>
                                        </p:tav>
                                      </p:tavLst>
                                    </p:anim>
                                  </p:childTnLst>
                                </p:cTn>
                              </p:par>
                            </p:childTnLst>
                          </p:cTn>
                        </p:par>
                        <p:par>
                          <p:cTn id="64" fill="hold">
                            <p:stCondLst>
                              <p:cond delay="6000"/>
                            </p:stCondLst>
                            <p:childTnLst>
                              <p:par>
                                <p:cTn id="65" presetID="2" presetClass="entr" presetSubtype="2" fill="hold" grpId="0" nodeType="afterEffect">
                                  <p:stCondLst>
                                    <p:cond delay="0"/>
                                  </p:stCondLst>
                                  <p:childTnLst>
                                    <p:set>
                                      <p:cBhvr>
                                        <p:cTn id="66" dur="1" fill="hold">
                                          <p:stCondLst>
                                            <p:cond delay="0"/>
                                          </p:stCondLst>
                                        </p:cTn>
                                        <p:tgtEl>
                                          <p:spTgt spid="36"/>
                                        </p:tgtEl>
                                        <p:attrNameLst>
                                          <p:attrName>style.visibility</p:attrName>
                                        </p:attrNameLst>
                                      </p:cBhvr>
                                      <p:to>
                                        <p:strVal val="visible"/>
                                      </p:to>
                                    </p:set>
                                    <p:anim calcmode="lin" valueType="num">
                                      <p:cBhvr additive="base">
                                        <p:cTn id="67" dur="500" fill="hold"/>
                                        <p:tgtEl>
                                          <p:spTgt spid="36"/>
                                        </p:tgtEl>
                                        <p:attrNameLst>
                                          <p:attrName>ppt_x</p:attrName>
                                        </p:attrNameLst>
                                      </p:cBhvr>
                                      <p:tavLst>
                                        <p:tav tm="0">
                                          <p:val>
                                            <p:strVal val="1+#ppt_w/2"/>
                                          </p:val>
                                        </p:tav>
                                        <p:tav tm="100000">
                                          <p:val>
                                            <p:strVal val="#ppt_x"/>
                                          </p:val>
                                        </p:tav>
                                      </p:tavLst>
                                    </p:anim>
                                    <p:anim calcmode="lin" valueType="num">
                                      <p:cBhvr additive="base">
                                        <p:cTn id="68" dur="500" fill="hold"/>
                                        <p:tgtEl>
                                          <p:spTgt spid="36"/>
                                        </p:tgtEl>
                                        <p:attrNameLst>
                                          <p:attrName>ppt_y</p:attrName>
                                        </p:attrNameLst>
                                      </p:cBhvr>
                                      <p:tavLst>
                                        <p:tav tm="0">
                                          <p:val>
                                            <p:strVal val="#ppt_y"/>
                                          </p:val>
                                        </p:tav>
                                        <p:tav tm="100000">
                                          <p:val>
                                            <p:strVal val="#ppt_y"/>
                                          </p:val>
                                        </p:tav>
                                      </p:tavLst>
                                    </p:anim>
                                  </p:childTnLst>
                                </p:cTn>
                              </p:par>
                            </p:childTnLst>
                          </p:cTn>
                        </p:par>
                        <p:par>
                          <p:cTn id="69" fill="hold">
                            <p:stCondLst>
                              <p:cond delay="6500"/>
                            </p:stCondLst>
                            <p:childTnLst>
                              <p:par>
                                <p:cTn id="70" presetID="2" presetClass="entr" presetSubtype="2" fill="hold" grpId="0" nodeType="afterEffect">
                                  <p:stCondLst>
                                    <p:cond delay="0"/>
                                  </p:stCondLst>
                                  <p:childTnLst>
                                    <p:set>
                                      <p:cBhvr>
                                        <p:cTn id="71" dur="1" fill="hold">
                                          <p:stCondLst>
                                            <p:cond delay="0"/>
                                          </p:stCondLst>
                                        </p:cTn>
                                        <p:tgtEl>
                                          <p:spTgt spid="50"/>
                                        </p:tgtEl>
                                        <p:attrNameLst>
                                          <p:attrName>style.visibility</p:attrName>
                                        </p:attrNameLst>
                                      </p:cBhvr>
                                      <p:to>
                                        <p:strVal val="visible"/>
                                      </p:to>
                                    </p:set>
                                    <p:anim calcmode="lin" valueType="num">
                                      <p:cBhvr additive="base">
                                        <p:cTn id="72" dur="500" fill="hold"/>
                                        <p:tgtEl>
                                          <p:spTgt spid="50"/>
                                        </p:tgtEl>
                                        <p:attrNameLst>
                                          <p:attrName>ppt_x</p:attrName>
                                        </p:attrNameLst>
                                      </p:cBhvr>
                                      <p:tavLst>
                                        <p:tav tm="0">
                                          <p:val>
                                            <p:strVal val="1+#ppt_w/2"/>
                                          </p:val>
                                        </p:tav>
                                        <p:tav tm="100000">
                                          <p:val>
                                            <p:strVal val="#ppt_x"/>
                                          </p:val>
                                        </p:tav>
                                      </p:tavLst>
                                    </p:anim>
                                    <p:anim calcmode="lin" valueType="num">
                                      <p:cBhvr additive="base">
                                        <p:cTn id="73" dur="500" fill="hold"/>
                                        <p:tgtEl>
                                          <p:spTgt spid="50"/>
                                        </p:tgtEl>
                                        <p:attrNameLst>
                                          <p:attrName>ppt_y</p:attrName>
                                        </p:attrNameLst>
                                      </p:cBhvr>
                                      <p:tavLst>
                                        <p:tav tm="0">
                                          <p:val>
                                            <p:strVal val="#ppt_y"/>
                                          </p:val>
                                        </p:tav>
                                        <p:tav tm="100000">
                                          <p:val>
                                            <p:strVal val="#ppt_y"/>
                                          </p:val>
                                        </p:tav>
                                      </p:tavLst>
                                    </p:anim>
                                  </p:childTnLst>
                                </p:cTn>
                              </p:par>
                            </p:childTnLst>
                          </p:cTn>
                        </p:par>
                        <p:par>
                          <p:cTn id="74" fill="hold">
                            <p:stCondLst>
                              <p:cond delay="7000"/>
                            </p:stCondLst>
                            <p:childTnLst>
                              <p:par>
                                <p:cTn id="75" presetID="2" presetClass="entr" presetSubtype="2" fill="hold" nodeType="afterEffect">
                                  <p:stCondLst>
                                    <p:cond delay="0"/>
                                  </p:stCondLst>
                                  <p:childTnLst>
                                    <p:set>
                                      <p:cBhvr>
                                        <p:cTn id="76" dur="1" fill="hold">
                                          <p:stCondLst>
                                            <p:cond delay="0"/>
                                          </p:stCondLst>
                                        </p:cTn>
                                        <p:tgtEl>
                                          <p:spTgt spid="52"/>
                                        </p:tgtEl>
                                        <p:attrNameLst>
                                          <p:attrName>style.visibility</p:attrName>
                                        </p:attrNameLst>
                                      </p:cBhvr>
                                      <p:to>
                                        <p:strVal val="visible"/>
                                      </p:to>
                                    </p:set>
                                    <p:anim calcmode="lin" valueType="num">
                                      <p:cBhvr additive="base">
                                        <p:cTn id="77" dur="500" fill="hold"/>
                                        <p:tgtEl>
                                          <p:spTgt spid="52"/>
                                        </p:tgtEl>
                                        <p:attrNameLst>
                                          <p:attrName>ppt_x</p:attrName>
                                        </p:attrNameLst>
                                      </p:cBhvr>
                                      <p:tavLst>
                                        <p:tav tm="0">
                                          <p:val>
                                            <p:strVal val="1+#ppt_w/2"/>
                                          </p:val>
                                        </p:tav>
                                        <p:tav tm="100000">
                                          <p:val>
                                            <p:strVal val="#ppt_x"/>
                                          </p:val>
                                        </p:tav>
                                      </p:tavLst>
                                    </p:anim>
                                    <p:anim calcmode="lin" valueType="num">
                                      <p:cBhvr additive="base">
                                        <p:cTn id="78" dur="500" fill="hold"/>
                                        <p:tgtEl>
                                          <p:spTgt spid="52"/>
                                        </p:tgtEl>
                                        <p:attrNameLst>
                                          <p:attrName>ppt_y</p:attrName>
                                        </p:attrNameLst>
                                      </p:cBhvr>
                                      <p:tavLst>
                                        <p:tav tm="0">
                                          <p:val>
                                            <p:strVal val="#ppt_y"/>
                                          </p:val>
                                        </p:tav>
                                        <p:tav tm="100000">
                                          <p:val>
                                            <p:strVal val="#ppt_y"/>
                                          </p:val>
                                        </p:tav>
                                      </p:tavLst>
                                    </p:anim>
                                  </p:childTnLst>
                                </p:cTn>
                              </p:par>
                            </p:childTnLst>
                          </p:cTn>
                        </p:par>
                        <p:par>
                          <p:cTn id="79" fill="hold">
                            <p:stCondLst>
                              <p:cond delay="7500"/>
                            </p:stCondLst>
                            <p:childTnLst>
                              <p:par>
                                <p:cTn id="80" presetID="2" presetClass="entr" presetSubtype="2" fill="hold" grpId="0" nodeType="afterEffect">
                                  <p:stCondLst>
                                    <p:cond delay="0"/>
                                  </p:stCondLst>
                                  <p:childTnLst>
                                    <p:set>
                                      <p:cBhvr>
                                        <p:cTn id="81" dur="1" fill="hold">
                                          <p:stCondLst>
                                            <p:cond delay="0"/>
                                          </p:stCondLst>
                                        </p:cTn>
                                        <p:tgtEl>
                                          <p:spTgt spid="51"/>
                                        </p:tgtEl>
                                        <p:attrNameLst>
                                          <p:attrName>style.visibility</p:attrName>
                                        </p:attrNameLst>
                                      </p:cBhvr>
                                      <p:to>
                                        <p:strVal val="visible"/>
                                      </p:to>
                                    </p:set>
                                    <p:anim calcmode="lin" valueType="num">
                                      <p:cBhvr additive="base">
                                        <p:cTn id="82" dur="500" fill="hold"/>
                                        <p:tgtEl>
                                          <p:spTgt spid="51"/>
                                        </p:tgtEl>
                                        <p:attrNameLst>
                                          <p:attrName>ppt_x</p:attrName>
                                        </p:attrNameLst>
                                      </p:cBhvr>
                                      <p:tavLst>
                                        <p:tav tm="0">
                                          <p:val>
                                            <p:strVal val="1+#ppt_w/2"/>
                                          </p:val>
                                        </p:tav>
                                        <p:tav tm="100000">
                                          <p:val>
                                            <p:strVal val="#ppt_x"/>
                                          </p:val>
                                        </p:tav>
                                      </p:tavLst>
                                    </p:anim>
                                    <p:anim calcmode="lin" valueType="num">
                                      <p:cBhvr additive="base">
                                        <p:cTn id="83" dur="500" fill="hold"/>
                                        <p:tgtEl>
                                          <p:spTgt spid="5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0" grpId="0" animBg="1"/>
      <p:bldP spid="24" grpId="0" animBg="1"/>
      <p:bldP spid="34" grpId="0" animBg="1"/>
      <p:bldP spid="35" grpId="0" animBg="1"/>
      <p:bldP spid="36" grpId="0" animBg="1"/>
      <p:bldP spid="49" grpId="0" animBg="1"/>
      <p:bldP spid="50" grpId="0" animBg="1"/>
      <p:bldP spid="51" grpId="0" animBg="1"/>
      <p:bldP spid="5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F7DEA7B6-1B13-366A-672A-F7F751F7450C}"/>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de-DE" sz="1200" b="1">
                <a:ea typeface="+mn-lt"/>
                <a:cs typeface="+mn-lt"/>
              </a:rPr>
              <a:t>Ansprechpartner</a:t>
            </a:r>
            <a:endParaRPr lang="en-US" sz="1200" b="1"/>
          </a:p>
          <a:p>
            <a:r>
              <a:rPr lang="de-DE" sz="1200">
                <a:ea typeface="+mn-lt"/>
                <a:cs typeface="+mn-lt"/>
              </a:rPr>
              <a:t>Jörg Hanken</a:t>
            </a:r>
            <a:endParaRPr lang="de-DE" sz="1200"/>
          </a:p>
          <a:p>
            <a:r>
              <a:rPr lang="de-DE" sz="1200">
                <a:ea typeface="+mn-lt"/>
                <a:cs typeface="+mn-lt"/>
              </a:rPr>
              <a:t>+49 172 90 250 80</a:t>
            </a:r>
            <a:endParaRPr lang="de-DE" sz="1200"/>
          </a:p>
          <a:p>
            <a:r>
              <a:rPr lang="de-DE" sz="1200">
                <a:ea typeface="+mn-lt"/>
                <a:cs typeface="+mn-lt"/>
              </a:rPr>
              <a:t>Joerg.hanken@optravis.com</a:t>
            </a:r>
            <a:endParaRPr lang="de-DE" sz="1200"/>
          </a:p>
        </p:txBody>
      </p:sp>
      <p:sp>
        <p:nvSpPr>
          <p:cNvPr id="10" name="Titel 11">
            <a:extLst>
              <a:ext uri="{FF2B5EF4-FFF2-40B4-BE49-F238E27FC236}">
                <a16:creationId xmlns:a16="http://schemas.microsoft.com/office/drawing/2014/main" id="{66117DF3-FEB1-C3DF-24B0-36BFCE486E77}"/>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31" name="Textplatzhalter 30">
            <a:extLst>
              <a:ext uri="{FF2B5EF4-FFF2-40B4-BE49-F238E27FC236}">
                <a16:creationId xmlns:a16="http://schemas.microsoft.com/office/drawing/2014/main" id="{807B63BF-D609-29DF-FEDD-6E8D8960113B}"/>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C650468C-8CAB-5FB1-825F-5326198CA1FD}"/>
              </a:ext>
            </a:extLst>
          </p:cNvPr>
          <p:cNvSpPr>
            <a:spLocks noGrp="1"/>
          </p:cNvSpPr>
          <p:nvPr>
            <p:ph type="title"/>
          </p:nvPr>
        </p:nvSpPr>
        <p:spPr>
          <a:xfrm>
            <a:off x="623888" y="620713"/>
            <a:ext cx="10282005" cy="738664"/>
          </a:xfrm>
        </p:spPr>
        <p:txBody>
          <a:bodyPr vert="horz"/>
          <a:lstStyle/>
          <a:p>
            <a:r>
              <a:rPr lang="en-US"/>
              <a:t>Say goodbye to Excel! Enjoy automated and tax-compliant transfer pricing!</a:t>
            </a:r>
            <a:br>
              <a:rPr lang="en-US"/>
            </a:br>
            <a:r>
              <a:rPr lang="en-US" b="1" err="1"/>
              <a:t>Optravis</a:t>
            </a:r>
            <a:r>
              <a:rPr lang="en-US" b="1"/>
              <a:t> Transfer Pricing Management Tool</a:t>
            </a:r>
          </a:p>
        </p:txBody>
      </p:sp>
      <p:sp>
        <p:nvSpPr>
          <p:cNvPr id="14" name="Fußzeilenplatzhalter 1">
            <a:extLst>
              <a:ext uri="{FF2B5EF4-FFF2-40B4-BE49-F238E27FC236}">
                <a16:creationId xmlns:a16="http://schemas.microsoft.com/office/drawing/2014/main" id="{67460F70-322B-1B78-C506-3B7CC9CA4509}"/>
              </a:ext>
            </a:extLst>
          </p:cNvPr>
          <p:cNvSpPr>
            <a:spLocks noGrp="1"/>
          </p:cNvSpPr>
          <p:nvPr>
            <p:ph type="ftr" sz="quarter" idx="10"/>
          </p:nvPr>
        </p:nvSpPr>
        <p:spPr/>
        <p:txBody>
          <a:bodyPr/>
          <a:lstStyle/>
          <a:p>
            <a:r>
              <a:rPr lang="de-DE" dirty="0"/>
              <a:t>© </a:t>
            </a:r>
            <a:r>
              <a:rPr lang="de-DE" dirty="0" err="1"/>
              <a:t>msg</a:t>
            </a:r>
            <a:r>
              <a:rPr lang="de-DE" dirty="0"/>
              <a:t> </a:t>
            </a:r>
            <a:r>
              <a:rPr lang="de-DE" dirty="0" err="1"/>
              <a:t>systems</a:t>
            </a:r>
            <a:r>
              <a:rPr lang="de-DE" dirty="0"/>
              <a:t> </a:t>
            </a:r>
            <a:r>
              <a:rPr lang="de-DE" dirty="0" err="1"/>
              <a:t>ag</a:t>
            </a:r>
            <a:r>
              <a:rPr lang="de-DE" dirty="0"/>
              <a:t> | </a:t>
            </a:r>
            <a:r>
              <a:rPr lang="en-US" dirty="0"/>
              <a:t>2026</a:t>
            </a:r>
            <a:r>
              <a:rPr lang="de-DE" dirty="0"/>
              <a:t> | </a:t>
            </a:r>
            <a:r>
              <a:rPr lang="de-DE" dirty="0" err="1"/>
              <a:t>msg</a:t>
            </a:r>
            <a:r>
              <a:rPr lang="de-DE" dirty="0"/>
              <a:t>-Unternehmenspräsentation</a:t>
            </a:r>
          </a:p>
        </p:txBody>
      </p:sp>
      <p:sp>
        <p:nvSpPr>
          <p:cNvPr id="16" name="Foliennummernplatzhalter 2">
            <a:extLst>
              <a:ext uri="{FF2B5EF4-FFF2-40B4-BE49-F238E27FC236}">
                <a16:creationId xmlns:a16="http://schemas.microsoft.com/office/drawing/2014/main" id="{3D893689-2E2F-3A9F-E22A-327EA99A741D}"/>
              </a:ext>
            </a:extLst>
          </p:cNvPr>
          <p:cNvSpPr>
            <a:spLocks noGrp="1"/>
          </p:cNvSpPr>
          <p:nvPr>
            <p:ph type="sldNum" sz="quarter" idx="11"/>
          </p:nvPr>
        </p:nvSpPr>
        <p:spPr/>
        <p:txBody>
          <a:bodyPr/>
          <a:lstStyle/>
          <a:p>
            <a:fld id="{B27B0579-4238-4E44-9A9E-134B676F827C}" type="slidenum">
              <a:rPr lang="de-DE" smtClean="0"/>
              <a:pPr/>
              <a:t>33</a:t>
            </a:fld>
            <a:endParaRPr lang="de-DE"/>
          </a:p>
        </p:txBody>
      </p:sp>
      <p:pic>
        <p:nvPicPr>
          <p:cNvPr id="48" name="Grafik 47" descr="Ein Bild, das Text, Schrift, Grafiken, Grafikdesign enthält.&#10;&#10;KI-generierte Inhalte können fehlerhaft sein.">
            <a:extLst>
              <a:ext uri="{FF2B5EF4-FFF2-40B4-BE49-F238E27FC236}">
                <a16:creationId xmlns:a16="http://schemas.microsoft.com/office/drawing/2014/main" id="{41757ABB-E436-CD6F-F3D6-D0079F162788}"/>
              </a:ext>
            </a:extLst>
          </p:cNvPr>
          <p:cNvPicPr>
            <a:picLocks noChangeAspect="1"/>
          </p:cNvPicPr>
          <p:nvPr/>
        </p:nvPicPr>
        <p:blipFill>
          <a:blip r:embed="rId13"/>
          <a:srcRect l="-1551" t="-3390" r="-3185" b="-5085"/>
          <a:stretch/>
        </p:blipFill>
        <p:spPr>
          <a:xfrm>
            <a:off x="10012641" y="2225645"/>
            <a:ext cx="1770654" cy="457931"/>
          </a:xfrm>
          <a:prstGeom prst="rect">
            <a:avLst/>
          </a:prstGeom>
        </p:spPr>
      </p:pic>
      <p:sp>
        <p:nvSpPr>
          <p:cNvPr id="2" name="Textfeld 1">
            <a:extLst>
              <a:ext uri="{FF2B5EF4-FFF2-40B4-BE49-F238E27FC236}">
                <a16:creationId xmlns:a16="http://schemas.microsoft.com/office/drawing/2014/main" id="{42D3C5BE-6911-7D35-A03E-451CB83C6D59}"/>
              </a:ext>
            </a:extLst>
          </p:cNvPr>
          <p:cNvSpPr txBox="1"/>
          <p:nvPr>
            <p:custDataLst>
              <p:tags r:id="rId3"/>
            </p:custDataLst>
          </p:nvPr>
        </p:nvSpPr>
        <p:spPr>
          <a:xfrm>
            <a:off x="653195" y="1785680"/>
            <a:ext cx="3991047"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sz="1400" b="1"/>
              <a:t>Your Challenge</a:t>
            </a:r>
          </a:p>
          <a:p>
            <a:pPr marL="215900" lvl="1" indent="-215900">
              <a:spcAft>
                <a:spcPts val="200"/>
              </a:spcAft>
            </a:pPr>
            <a:r>
              <a:rPr lang="en-US" sz="1200"/>
              <a:t>Internal cost allocations are rising significantly</a:t>
            </a:r>
          </a:p>
          <a:p>
            <a:pPr marL="215900" lvl="1" indent="-215900">
              <a:spcAft>
                <a:spcPts val="200"/>
              </a:spcAft>
            </a:pPr>
            <a:r>
              <a:rPr lang="en-US" sz="1200"/>
              <a:t>Complicated and error-prone Excel tools, </a:t>
            </a:r>
            <a:br>
              <a:rPr lang="en-US" sz="1200"/>
            </a:br>
            <a:r>
              <a:rPr lang="en-US" sz="1200"/>
              <a:t>requiring significant manual effort for calculation, documentation, and justification</a:t>
            </a:r>
          </a:p>
          <a:p>
            <a:pPr marL="215900" lvl="1" indent="-215900">
              <a:spcAft>
                <a:spcPts val="200"/>
              </a:spcAft>
            </a:pPr>
            <a:r>
              <a:rPr lang="en-US" sz="1200"/>
              <a:t>Stringent demands from both German and international tax and regulatory bodies concerning the clarity and the arm's length principle of allocations in relation to taxation </a:t>
            </a:r>
          </a:p>
          <a:p>
            <a:pPr marL="215900" lvl="1" indent="-215900">
              <a:spcAft>
                <a:spcPts val="200"/>
              </a:spcAft>
            </a:pPr>
            <a:r>
              <a:rPr lang="en-US" sz="1200"/>
              <a:t>Missing processes with key controls and responsibilities, no audit trail, no integrated data retention </a:t>
            </a:r>
          </a:p>
          <a:p>
            <a:pPr>
              <a:spcAft>
                <a:spcPts val="200"/>
              </a:spcAft>
            </a:pPr>
            <a:endParaRPr lang="de-DE" sz="1400"/>
          </a:p>
        </p:txBody>
      </p:sp>
      <p:sp>
        <p:nvSpPr>
          <p:cNvPr id="3" name="Textfeld 2">
            <a:extLst>
              <a:ext uri="{FF2B5EF4-FFF2-40B4-BE49-F238E27FC236}">
                <a16:creationId xmlns:a16="http://schemas.microsoft.com/office/drawing/2014/main" id="{A61B92FF-FEA4-2B94-1473-654009F8D504}"/>
              </a:ext>
            </a:extLst>
          </p:cNvPr>
          <p:cNvSpPr txBox="1"/>
          <p:nvPr>
            <p:custDataLst>
              <p:tags r:id="rId4"/>
            </p:custDataLst>
          </p:nvPr>
        </p:nvSpPr>
        <p:spPr>
          <a:xfrm>
            <a:off x="5227129" y="1781494"/>
            <a:ext cx="3862159"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sz="1400" b="1"/>
              <a:t>Your Benefits</a:t>
            </a:r>
          </a:p>
          <a:p>
            <a:pPr marL="215900" lvl="1" indent="-215900">
              <a:spcAft>
                <a:spcPts val="200"/>
              </a:spcAft>
            </a:pPr>
            <a:r>
              <a:rPr lang="en-US" sz="1200"/>
              <a:t>Implementation of both straightforward </a:t>
            </a:r>
            <a:br>
              <a:rPr lang="en-US" sz="1200"/>
            </a:br>
            <a:r>
              <a:rPr lang="en-US" sz="1200"/>
              <a:t>and intricate billing models is possible due to exceptional flexibility</a:t>
            </a:r>
          </a:p>
          <a:p>
            <a:pPr marL="215900" lvl="1" indent="-215900">
              <a:spcAft>
                <a:spcPts val="200"/>
              </a:spcAft>
            </a:pPr>
            <a:r>
              <a:rPr lang="en-US" sz="1200"/>
              <a:t>One single source of truth</a:t>
            </a:r>
          </a:p>
          <a:p>
            <a:pPr marL="215900" lvl="1" indent="-215900">
              <a:spcAft>
                <a:spcPts val="200"/>
              </a:spcAft>
            </a:pPr>
            <a:r>
              <a:rPr lang="en-US" sz="1200"/>
              <a:t>Enhanced tax compliance, transparency and efficiency during calculation, documentation and justification of allocations</a:t>
            </a:r>
          </a:p>
          <a:p>
            <a:pPr>
              <a:spcAft>
                <a:spcPts val="200"/>
              </a:spcAft>
            </a:pPr>
            <a:endParaRPr lang="de-DE" sz="1400"/>
          </a:p>
        </p:txBody>
      </p:sp>
      <p:sp>
        <p:nvSpPr>
          <p:cNvPr id="22" name="Textfeld 21">
            <a:extLst>
              <a:ext uri="{FF2B5EF4-FFF2-40B4-BE49-F238E27FC236}">
                <a16:creationId xmlns:a16="http://schemas.microsoft.com/office/drawing/2014/main" id="{C6A57387-4E91-DE28-535C-A2B393925E8C}"/>
              </a:ext>
            </a:extLst>
          </p:cNvPr>
          <p:cNvSpPr txBox="1"/>
          <p:nvPr>
            <p:custDataLst>
              <p:tags r:id="rId5"/>
            </p:custDataLst>
          </p:nvPr>
        </p:nvSpPr>
        <p:spPr>
          <a:xfrm>
            <a:off x="653195" y="3959441"/>
            <a:ext cx="4115462" cy="1980296"/>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sz="1400" b="1"/>
              <a:t>Our Offering</a:t>
            </a:r>
          </a:p>
          <a:p>
            <a:pPr marL="215900" lvl="1" indent="-215900">
              <a:spcAft>
                <a:spcPts val="200"/>
              </a:spcAft>
            </a:pPr>
            <a:r>
              <a:rPr lang="en-US" sz="1200"/>
              <a:t>For all industries and group sizes </a:t>
            </a:r>
            <a:br>
              <a:rPr lang="en-US" sz="1200"/>
            </a:br>
            <a:r>
              <a:rPr lang="en-US" sz="1200"/>
              <a:t>with 10 or more companies </a:t>
            </a:r>
          </a:p>
          <a:p>
            <a:pPr marL="215900" lvl="1" indent="-215900">
              <a:spcAft>
                <a:spcPts val="200"/>
              </a:spcAft>
            </a:pPr>
            <a:r>
              <a:rPr lang="en-US" sz="1200"/>
              <a:t>SaaS solution complies with all requirements from controlling, accounting and tax perspective, end-to-end </a:t>
            </a:r>
          </a:p>
          <a:p>
            <a:pPr marL="215900" lvl="1" indent="-215900">
              <a:spcAft>
                <a:spcPts val="200"/>
              </a:spcAft>
            </a:pPr>
            <a:r>
              <a:rPr lang="en-US" sz="1200"/>
              <a:t>Intuitive user interface, self-service configuration</a:t>
            </a:r>
          </a:p>
          <a:p>
            <a:pPr marL="215900" lvl="1" indent="-215900">
              <a:spcAft>
                <a:spcPts val="200"/>
              </a:spcAft>
            </a:pPr>
            <a:r>
              <a:rPr lang="en-US" sz="1200"/>
              <a:t>Minimal IT resources needed, implemented quickly</a:t>
            </a:r>
          </a:p>
          <a:p>
            <a:pPr marL="215900" lvl="1" indent="-215900">
              <a:spcAft>
                <a:spcPts val="200"/>
              </a:spcAft>
            </a:pPr>
            <a:r>
              <a:rPr lang="en-US" sz="1200"/>
              <a:t>Annual SaaS fee from € 40k, plus implementation</a:t>
            </a:r>
          </a:p>
          <a:p>
            <a:pPr marL="215900" lvl="1" indent="-215900">
              <a:spcAft>
                <a:spcPts val="200"/>
              </a:spcAft>
            </a:pPr>
            <a:r>
              <a:rPr lang="en-US" sz="1200"/>
              <a:t>Compatible with any ERP system, integrating with SAP BTP, and certified under ISO 27001</a:t>
            </a:r>
          </a:p>
        </p:txBody>
      </p:sp>
      <p:sp>
        <p:nvSpPr>
          <p:cNvPr id="23" name="Textfeld 22">
            <a:extLst>
              <a:ext uri="{FF2B5EF4-FFF2-40B4-BE49-F238E27FC236}">
                <a16:creationId xmlns:a16="http://schemas.microsoft.com/office/drawing/2014/main" id="{61D0909D-A566-299C-C886-4381EFC8E1F4}"/>
              </a:ext>
            </a:extLst>
          </p:cNvPr>
          <p:cNvSpPr txBox="1"/>
          <p:nvPr>
            <p:custDataLst>
              <p:tags r:id="rId6"/>
            </p:custDataLst>
          </p:nvPr>
        </p:nvSpPr>
        <p:spPr>
          <a:xfrm>
            <a:off x="5227129" y="3959440"/>
            <a:ext cx="3778873" cy="914400"/>
          </a:xfrm>
          <a:prstGeom prst="rect">
            <a:avLst/>
          </a:prstGeom>
        </p:spPr>
        <p:txBody>
          <a:bodyPr vert="horz" lIns="0" tIns="0" rIns="0" bIns="0" rtlCol="0">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a:t>Our Partners and References</a:t>
            </a:r>
          </a:p>
          <a:p>
            <a:pPr lvl="1">
              <a:spcAft>
                <a:spcPts val="200"/>
              </a:spcAft>
            </a:pPr>
            <a:r>
              <a:rPr lang="en-US" sz="1200"/>
              <a:t>Close collaboration with msg</a:t>
            </a:r>
          </a:p>
          <a:p>
            <a:pPr lvl="1">
              <a:spcAft>
                <a:spcPts val="200"/>
              </a:spcAft>
            </a:pPr>
            <a:r>
              <a:rPr lang="en-US" sz="1200"/>
              <a:t>Selected customers: </a:t>
            </a:r>
            <a:r>
              <a:rPr lang="en-US" sz="1200" err="1"/>
              <a:t>B.Braun</a:t>
            </a:r>
            <a:r>
              <a:rPr lang="en-US" sz="1200"/>
              <a:t>, Bosch, Clariant, GETEC, Harting, Henkel, Merck, </a:t>
            </a:r>
            <a:r>
              <a:rPr lang="en-US" sz="1200" err="1"/>
              <a:t>Zentis</a:t>
            </a:r>
            <a:endParaRPr lang="en-US" sz="1200"/>
          </a:p>
          <a:p>
            <a:pPr lvl="1">
              <a:spcAft>
                <a:spcPts val="200"/>
              </a:spcAft>
            </a:pPr>
            <a:r>
              <a:rPr lang="en-US" sz="1200"/>
              <a:t>All of our customers remain loyal to us even after a decade</a:t>
            </a:r>
          </a:p>
        </p:txBody>
      </p:sp>
      <p:grpSp>
        <p:nvGrpSpPr>
          <p:cNvPr id="25" name="Gruppieren 24">
            <a:extLst>
              <a:ext uri="{FF2B5EF4-FFF2-40B4-BE49-F238E27FC236}">
                <a16:creationId xmlns:a16="http://schemas.microsoft.com/office/drawing/2014/main" id="{DDC22ABD-612A-852F-0536-D384A99B9BF7}"/>
              </a:ext>
            </a:extLst>
          </p:cNvPr>
          <p:cNvGrpSpPr/>
          <p:nvPr/>
        </p:nvGrpSpPr>
        <p:grpSpPr>
          <a:xfrm>
            <a:off x="4138804" y="1771450"/>
            <a:ext cx="703694" cy="703694"/>
            <a:chOff x="3460071" y="1779904"/>
            <a:chExt cx="869145" cy="869145"/>
          </a:xfrm>
        </p:grpSpPr>
        <p:sp>
          <p:nvSpPr>
            <p:cNvPr id="27" name="Kreis: nicht ausgefüllt 26">
              <a:extLst>
                <a:ext uri="{FF2B5EF4-FFF2-40B4-BE49-F238E27FC236}">
                  <a16:creationId xmlns:a16="http://schemas.microsoft.com/office/drawing/2014/main" id="{6C965C80-631C-0A50-C5F3-3560F5EEA5C3}"/>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9" name="Grafik 28">
              <a:extLst>
                <a:ext uri="{FF2B5EF4-FFF2-40B4-BE49-F238E27FC236}">
                  <a16:creationId xmlns:a16="http://schemas.microsoft.com/office/drawing/2014/main" id="{9C44EBEE-2A4E-CA5B-76EB-B70539E4E53D}"/>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96632" y="1796942"/>
              <a:ext cx="809625" cy="809625"/>
            </a:xfrm>
            <a:prstGeom prst="rect">
              <a:avLst/>
            </a:prstGeom>
          </p:spPr>
        </p:pic>
      </p:grpSp>
      <p:grpSp>
        <p:nvGrpSpPr>
          <p:cNvPr id="32" name="Gruppieren 31">
            <a:extLst>
              <a:ext uri="{FF2B5EF4-FFF2-40B4-BE49-F238E27FC236}">
                <a16:creationId xmlns:a16="http://schemas.microsoft.com/office/drawing/2014/main" id="{AE17F1C5-D48A-B3F7-34E0-BFA4740E4C87}"/>
              </a:ext>
            </a:extLst>
          </p:cNvPr>
          <p:cNvGrpSpPr/>
          <p:nvPr/>
        </p:nvGrpSpPr>
        <p:grpSpPr>
          <a:xfrm>
            <a:off x="8760781" y="3950290"/>
            <a:ext cx="703694" cy="703694"/>
            <a:chOff x="8575325" y="4111833"/>
            <a:chExt cx="869145" cy="869145"/>
          </a:xfrm>
        </p:grpSpPr>
        <p:sp>
          <p:nvSpPr>
            <p:cNvPr id="33" name="Kreis: nicht ausgefüllt 32">
              <a:extLst>
                <a:ext uri="{FF2B5EF4-FFF2-40B4-BE49-F238E27FC236}">
                  <a16:creationId xmlns:a16="http://schemas.microsoft.com/office/drawing/2014/main" id="{C5394619-7C4C-6C6F-BAEE-A2F4B71DAB65}"/>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4" name="Grafik 33">
              <a:extLst>
                <a:ext uri="{FF2B5EF4-FFF2-40B4-BE49-F238E27FC236}">
                  <a16:creationId xmlns:a16="http://schemas.microsoft.com/office/drawing/2014/main" id="{BF0B7C31-A0CF-ED1B-9341-4292266E0BAC}"/>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8608010" y="4171353"/>
              <a:ext cx="809625" cy="809625"/>
            </a:xfrm>
            <a:prstGeom prst="rect">
              <a:avLst/>
            </a:prstGeom>
          </p:spPr>
        </p:pic>
      </p:grpSp>
      <p:grpSp>
        <p:nvGrpSpPr>
          <p:cNvPr id="35" name="Gruppieren 34">
            <a:extLst>
              <a:ext uri="{FF2B5EF4-FFF2-40B4-BE49-F238E27FC236}">
                <a16:creationId xmlns:a16="http://schemas.microsoft.com/office/drawing/2014/main" id="{72C622AD-8387-E252-E04F-2F21537A7153}"/>
              </a:ext>
            </a:extLst>
          </p:cNvPr>
          <p:cNvGrpSpPr/>
          <p:nvPr/>
        </p:nvGrpSpPr>
        <p:grpSpPr>
          <a:xfrm>
            <a:off x="4138804" y="3950290"/>
            <a:ext cx="703694" cy="703694"/>
            <a:chOff x="3460071" y="4111833"/>
            <a:chExt cx="869145" cy="869145"/>
          </a:xfrm>
        </p:grpSpPr>
        <p:sp>
          <p:nvSpPr>
            <p:cNvPr id="36" name="Kreis: nicht ausgefüllt 35">
              <a:extLst>
                <a:ext uri="{FF2B5EF4-FFF2-40B4-BE49-F238E27FC236}">
                  <a16:creationId xmlns:a16="http://schemas.microsoft.com/office/drawing/2014/main" id="{F0774E55-9526-0063-02BF-740C8D73305D}"/>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7" name="Grafik 36">
              <a:extLst>
                <a:ext uri="{FF2B5EF4-FFF2-40B4-BE49-F238E27FC236}">
                  <a16:creationId xmlns:a16="http://schemas.microsoft.com/office/drawing/2014/main" id="{39E40271-9F62-B44F-BFB4-3D58D577E90E}"/>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3489830" y="4141593"/>
              <a:ext cx="809625" cy="809625"/>
            </a:xfrm>
            <a:prstGeom prst="rect">
              <a:avLst/>
            </a:prstGeom>
          </p:spPr>
        </p:pic>
      </p:grpSp>
      <p:grpSp>
        <p:nvGrpSpPr>
          <p:cNvPr id="38" name="Gruppieren 37">
            <a:extLst>
              <a:ext uri="{FF2B5EF4-FFF2-40B4-BE49-F238E27FC236}">
                <a16:creationId xmlns:a16="http://schemas.microsoft.com/office/drawing/2014/main" id="{F1FFD85B-46A2-7F7F-850A-D2CA49C1CF46}"/>
              </a:ext>
            </a:extLst>
          </p:cNvPr>
          <p:cNvGrpSpPr/>
          <p:nvPr/>
        </p:nvGrpSpPr>
        <p:grpSpPr>
          <a:xfrm>
            <a:off x="8760780" y="1771450"/>
            <a:ext cx="703694" cy="703694"/>
            <a:chOff x="7459565" y="1779904"/>
            <a:chExt cx="869145" cy="869145"/>
          </a:xfrm>
        </p:grpSpPr>
        <p:sp>
          <p:nvSpPr>
            <p:cNvPr id="39" name="Kreis: nicht ausgefüllt 38">
              <a:extLst>
                <a:ext uri="{FF2B5EF4-FFF2-40B4-BE49-F238E27FC236}">
                  <a16:creationId xmlns:a16="http://schemas.microsoft.com/office/drawing/2014/main" id="{FE9E6888-6603-D177-BED8-DE687182029D}"/>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0" name="Grafik 39">
              <a:extLst>
                <a:ext uri="{FF2B5EF4-FFF2-40B4-BE49-F238E27FC236}">
                  <a16:creationId xmlns:a16="http://schemas.microsoft.com/office/drawing/2014/main" id="{A08DDD5E-7002-AC4D-DE71-34ECC839ED17}"/>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7493685" y="1797686"/>
              <a:ext cx="809625" cy="809625"/>
            </a:xfrm>
            <a:prstGeom prst="rect">
              <a:avLst/>
            </a:prstGeom>
          </p:spPr>
        </p:pic>
      </p:grpSp>
      <p:cxnSp>
        <p:nvCxnSpPr>
          <p:cNvPr id="41" name="Gerader Verbinder 19">
            <a:extLst>
              <a:ext uri="{FF2B5EF4-FFF2-40B4-BE49-F238E27FC236}">
                <a16:creationId xmlns:a16="http://schemas.microsoft.com/office/drawing/2014/main" id="{6D4036E2-B584-522C-2F57-A8A023935BA5}"/>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3493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DE134-6549-7DB7-ADB7-FF1293E45A3C}"/>
            </a:ext>
          </a:extLst>
        </p:cNvPr>
        <p:cNvGrpSpPr/>
        <p:nvPr/>
      </p:nvGrpSpPr>
      <p:grpSpPr>
        <a:xfrm>
          <a:off x="0" y="0"/>
          <a:ext cx="0" cy="0"/>
          <a:chOff x="0" y="0"/>
          <a:chExt cx="0" cy="0"/>
        </a:xfrm>
      </p:grpSpPr>
      <p:sp>
        <p:nvSpPr>
          <p:cNvPr id="13" name="Textplatzhalter 12">
            <a:extLst>
              <a:ext uri="{FF2B5EF4-FFF2-40B4-BE49-F238E27FC236}">
                <a16:creationId xmlns:a16="http://schemas.microsoft.com/office/drawing/2014/main" id="{1EDE0966-627F-57FB-2D73-A7F33E24AF1E}"/>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A0C0B00C-0F94-19DD-50A5-D52117CD09E5}"/>
              </a:ext>
            </a:extLst>
          </p:cNvPr>
          <p:cNvSpPr>
            <a:spLocks noGrp="1"/>
          </p:cNvSpPr>
          <p:nvPr>
            <p:ph type="title"/>
          </p:nvPr>
        </p:nvSpPr>
        <p:spPr>
          <a:xfrm>
            <a:off x="623888" y="620713"/>
            <a:ext cx="9815510" cy="738664"/>
          </a:xfrm>
        </p:spPr>
        <p:txBody>
          <a:bodyPr vert="horz"/>
          <a:lstStyle/>
          <a:p>
            <a:r>
              <a:rPr lang="en-US"/>
              <a:t>Say goodbye to Excel! Enjoy automated and tax-compliant cost allocation! </a:t>
            </a:r>
            <a:r>
              <a:rPr lang="en-US" b="1" err="1">
                <a:ea typeface=""/>
                <a:cs typeface="+mn-lt"/>
              </a:rPr>
              <a:t>Optravis</a:t>
            </a:r>
            <a:r>
              <a:rPr lang="en-US" b="1">
                <a:ea typeface=""/>
                <a:cs typeface="+mn-lt"/>
              </a:rPr>
              <a:t> Service Charge Tool</a:t>
            </a:r>
            <a:endParaRPr lang="en-US" b="1"/>
          </a:p>
        </p:txBody>
      </p:sp>
      <p:sp>
        <p:nvSpPr>
          <p:cNvPr id="14" name="Fußzeilenplatzhalter 1">
            <a:extLst>
              <a:ext uri="{FF2B5EF4-FFF2-40B4-BE49-F238E27FC236}">
                <a16:creationId xmlns:a16="http://schemas.microsoft.com/office/drawing/2014/main" id="{77A43B96-CD44-A399-E68C-7D9AC7F9D79E}"/>
              </a:ext>
            </a:extLst>
          </p:cNvPr>
          <p:cNvSpPr>
            <a:spLocks noGrp="1"/>
          </p:cNvSpPr>
          <p:nvPr>
            <p:ph type="ftr" sz="quarter" idx="10"/>
          </p:nvPr>
        </p:nvSpPr>
        <p:spPr/>
        <p:txBody>
          <a:bodyPr/>
          <a:lstStyle/>
          <a:p>
            <a:r>
              <a:rPr lang="de-DE" dirty="0"/>
              <a:t>© </a:t>
            </a:r>
            <a:r>
              <a:rPr lang="de-DE" dirty="0" err="1"/>
              <a:t>msg</a:t>
            </a:r>
            <a:r>
              <a:rPr lang="de-DE" dirty="0"/>
              <a:t> </a:t>
            </a:r>
            <a:r>
              <a:rPr lang="de-DE" dirty="0" err="1"/>
              <a:t>systems</a:t>
            </a:r>
            <a:r>
              <a:rPr lang="de-DE" dirty="0"/>
              <a:t> </a:t>
            </a:r>
            <a:r>
              <a:rPr lang="de-DE" dirty="0" err="1"/>
              <a:t>ag</a:t>
            </a:r>
            <a:r>
              <a:rPr lang="de-DE" dirty="0"/>
              <a:t> | </a:t>
            </a:r>
            <a:r>
              <a:rPr lang="en-US" dirty="0"/>
              <a:t>2026</a:t>
            </a:r>
            <a:r>
              <a:rPr lang="de-DE" dirty="0"/>
              <a:t> | </a:t>
            </a:r>
            <a:r>
              <a:rPr lang="de-DE" dirty="0" err="1"/>
              <a:t>msg</a:t>
            </a:r>
            <a:r>
              <a:rPr lang="de-DE" dirty="0"/>
              <a:t>-Unternehmenspräsentation</a:t>
            </a:r>
          </a:p>
        </p:txBody>
      </p:sp>
      <p:sp>
        <p:nvSpPr>
          <p:cNvPr id="16" name="Foliennummernplatzhalter 2">
            <a:extLst>
              <a:ext uri="{FF2B5EF4-FFF2-40B4-BE49-F238E27FC236}">
                <a16:creationId xmlns:a16="http://schemas.microsoft.com/office/drawing/2014/main" id="{4CF8DD4F-7456-07A4-F376-44156E3CF383}"/>
              </a:ext>
            </a:extLst>
          </p:cNvPr>
          <p:cNvSpPr>
            <a:spLocks noGrp="1"/>
          </p:cNvSpPr>
          <p:nvPr>
            <p:ph type="sldNum" sz="quarter" idx="11"/>
          </p:nvPr>
        </p:nvSpPr>
        <p:spPr/>
        <p:txBody>
          <a:bodyPr/>
          <a:lstStyle/>
          <a:p>
            <a:fld id="{B27B0579-4238-4E44-9A9E-134B676F827C}" type="slidenum">
              <a:rPr lang="de-DE" smtClean="0"/>
              <a:pPr/>
              <a:t>34</a:t>
            </a:fld>
            <a:endParaRPr lang="de-DE"/>
          </a:p>
        </p:txBody>
      </p:sp>
      <p:sp>
        <p:nvSpPr>
          <p:cNvPr id="24" name="Textfeld 23">
            <a:extLst>
              <a:ext uri="{FF2B5EF4-FFF2-40B4-BE49-F238E27FC236}">
                <a16:creationId xmlns:a16="http://schemas.microsoft.com/office/drawing/2014/main" id="{025DC2DA-77A0-E2AA-797A-04E5725117DA}"/>
              </a:ext>
            </a:extLst>
          </p:cNvPr>
          <p:cNvSpPr txBox="1"/>
          <p:nvPr>
            <p:custDataLst>
              <p:tags r:id="rId1"/>
            </p:custDataLst>
          </p:nvPr>
        </p:nvSpPr>
        <p:spPr>
          <a:xfrm>
            <a:off x="653195" y="1785680"/>
            <a:ext cx="3991047"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sz="1400" b="1"/>
              <a:t>Your Challenge</a:t>
            </a:r>
          </a:p>
          <a:p>
            <a:pPr marL="215900" lvl="1" indent="-215900">
              <a:spcAft>
                <a:spcPts val="200"/>
              </a:spcAft>
            </a:pPr>
            <a:r>
              <a:rPr lang="en-US" sz="1200"/>
              <a:t>Additional costs through aggressive tax audit </a:t>
            </a:r>
            <a:br>
              <a:rPr lang="en-US" sz="1200"/>
            </a:br>
            <a:r>
              <a:rPr lang="en-US" sz="1200"/>
              <a:t>of transfer prices (merchandise)</a:t>
            </a:r>
          </a:p>
          <a:p>
            <a:pPr marL="215900" lvl="1" indent="-215900">
              <a:spcAft>
                <a:spcPts val="200"/>
              </a:spcAft>
            </a:pPr>
            <a:r>
              <a:rPr lang="en-US" sz="1200"/>
              <a:t>High manual effort for costing, documentation and justification. Excessive reliance on Excel.</a:t>
            </a:r>
          </a:p>
          <a:p>
            <a:pPr marL="215900" lvl="1" indent="-215900">
              <a:spcAft>
                <a:spcPts val="200"/>
              </a:spcAft>
            </a:pPr>
            <a:r>
              <a:rPr lang="en-US" sz="1200"/>
              <a:t>Significant year-end adjustments due to insufficient margin transparency within the P&amp;L statement segments of the group companies throughout the year</a:t>
            </a:r>
          </a:p>
          <a:p>
            <a:pPr marL="215900" lvl="1" indent="-215900">
              <a:spcAft>
                <a:spcPts val="200"/>
              </a:spcAft>
            </a:pPr>
            <a:r>
              <a:rPr lang="en-US" sz="1200"/>
              <a:t>No optimization of taxes, customs duty, controlling etc.</a:t>
            </a:r>
          </a:p>
          <a:p>
            <a:pPr>
              <a:spcAft>
                <a:spcPts val="200"/>
              </a:spcAft>
            </a:pPr>
            <a:endParaRPr lang="de-DE" sz="1400"/>
          </a:p>
        </p:txBody>
      </p:sp>
      <p:sp>
        <p:nvSpPr>
          <p:cNvPr id="26" name="Textfeld 25">
            <a:extLst>
              <a:ext uri="{FF2B5EF4-FFF2-40B4-BE49-F238E27FC236}">
                <a16:creationId xmlns:a16="http://schemas.microsoft.com/office/drawing/2014/main" id="{75C8C61E-9B42-13C8-D0B9-FDA4472C28C4}"/>
              </a:ext>
            </a:extLst>
          </p:cNvPr>
          <p:cNvSpPr txBox="1"/>
          <p:nvPr>
            <p:custDataLst>
              <p:tags r:id="rId2"/>
            </p:custDataLst>
          </p:nvPr>
        </p:nvSpPr>
        <p:spPr>
          <a:xfrm>
            <a:off x="5227129" y="1781494"/>
            <a:ext cx="3862159"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sz="1400" b="1"/>
              <a:t>Your Benefits</a:t>
            </a:r>
          </a:p>
          <a:p>
            <a:pPr marL="215900" lvl="1" indent="-215900">
              <a:spcAft>
                <a:spcPts val="200"/>
              </a:spcAft>
            </a:pPr>
            <a:r>
              <a:rPr lang="en-US" sz="1200"/>
              <a:t>Savings (process, taxes, customs duty) </a:t>
            </a:r>
            <a:br>
              <a:rPr lang="en-US" sz="1200"/>
            </a:br>
            <a:r>
              <a:rPr lang="en-US" sz="1200"/>
              <a:t>exceed SaaS fee</a:t>
            </a:r>
          </a:p>
          <a:p>
            <a:pPr marL="215900" lvl="1" indent="-215900">
              <a:spcAft>
                <a:spcPts val="200"/>
              </a:spcAft>
            </a:pPr>
            <a:r>
              <a:rPr lang="en-US" sz="1200"/>
              <a:t>Reduction of year-end adjustments</a:t>
            </a:r>
          </a:p>
          <a:p>
            <a:pPr marL="215900" lvl="1" indent="-215900">
              <a:spcAft>
                <a:spcPts val="200"/>
              </a:spcAft>
            </a:pPr>
            <a:r>
              <a:rPr lang="en-US" sz="1200"/>
              <a:t>Enhanced tax compliance, transparency and efficiency during calculation, documentation and justification of allocations</a:t>
            </a:r>
          </a:p>
          <a:p>
            <a:pPr>
              <a:spcAft>
                <a:spcPts val="200"/>
              </a:spcAft>
            </a:pPr>
            <a:endParaRPr lang="de-DE" sz="1400"/>
          </a:p>
        </p:txBody>
      </p:sp>
      <p:sp>
        <p:nvSpPr>
          <p:cNvPr id="28" name="Textfeld 27">
            <a:extLst>
              <a:ext uri="{FF2B5EF4-FFF2-40B4-BE49-F238E27FC236}">
                <a16:creationId xmlns:a16="http://schemas.microsoft.com/office/drawing/2014/main" id="{D2FB13AD-B38F-537D-FE48-25DEB1767C85}"/>
              </a:ext>
            </a:extLst>
          </p:cNvPr>
          <p:cNvSpPr txBox="1"/>
          <p:nvPr>
            <p:custDataLst>
              <p:tags r:id="rId3"/>
            </p:custDataLst>
          </p:nvPr>
        </p:nvSpPr>
        <p:spPr>
          <a:xfrm>
            <a:off x="653195" y="3959441"/>
            <a:ext cx="4115462" cy="1980296"/>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sz="1400" b="1"/>
              <a:t>Our Offering</a:t>
            </a:r>
          </a:p>
          <a:p>
            <a:pPr marL="215900" lvl="1" indent="-215900">
              <a:spcAft>
                <a:spcPts val="200"/>
              </a:spcAft>
            </a:pPr>
            <a:r>
              <a:rPr lang="en-US" sz="1200"/>
              <a:t>For all manufacturing firms </a:t>
            </a:r>
            <a:br>
              <a:rPr lang="en-US" sz="1200"/>
            </a:br>
            <a:r>
              <a:rPr lang="en-US" sz="1200"/>
              <a:t>with 10 or more companies</a:t>
            </a:r>
          </a:p>
          <a:p>
            <a:pPr marL="215900" lvl="1" indent="-215900">
              <a:spcAft>
                <a:spcPts val="200"/>
              </a:spcAft>
            </a:pPr>
            <a:r>
              <a:rPr lang="en-US" sz="1200"/>
              <a:t>Data extraction, visualization of IC transactions, segmented P&amp;L, calculation of complex supply chains, margin monitoring, dashboard, IC price lists</a:t>
            </a:r>
          </a:p>
          <a:p>
            <a:pPr marL="215900" lvl="1" indent="-215900">
              <a:spcAft>
                <a:spcPts val="200"/>
              </a:spcAft>
            </a:pPr>
            <a:r>
              <a:rPr lang="en-US" sz="1200"/>
              <a:t>PoC for testing data availability and quality</a:t>
            </a:r>
          </a:p>
          <a:p>
            <a:pPr marL="215900" lvl="1" indent="-215900">
              <a:spcAft>
                <a:spcPts val="200"/>
              </a:spcAft>
            </a:pPr>
            <a:r>
              <a:rPr lang="en-US" sz="1200"/>
              <a:t>Minimal IT resources needed, offering both full and self-service options</a:t>
            </a:r>
          </a:p>
          <a:p>
            <a:pPr marL="215900" lvl="1" indent="-215900">
              <a:spcAft>
                <a:spcPts val="200"/>
              </a:spcAft>
            </a:pPr>
            <a:r>
              <a:rPr lang="en-US" sz="1200"/>
              <a:t>Compatible with any ERP system, integrating with SAP BTP, and certified under ISO 27001</a:t>
            </a:r>
          </a:p>
        </p:txBody>
      </p:sp>
      <p:sp>
        <p:nvSpPr>
          <p:cNvPr id="30" name="Textfeld 29">
            <a:extLst>
              <a:ext uri="{FF2B5EF4-FFF2-40B4-BE49-F238E27FC236}">
                <a16:creationId xmlns:a16="http://schemas.microsoft.com/office/drawing/2014/main" id="{02E3CA96-35C2-B06D-2C3A-5434AB615AD1}"/>
              </a:ext>
            </a:extLst>
          </p:cNvPr>
          <p:cNvSpPr txBox="1"/>
          <p:nvPr>
            <p:custDataLst>
              <p:tags r:id="rId4"/>
            </p:custDataLst>
          </p:nvPr>
        </p:nvSpPr>
        <p:spPr>
          <a:xfrm>
            <a:off x="5227129" y="3959440"/>
            <a:ext cx="3778873" cy="914400"/>
          </a:xfrm>
          <a:prstGeom prst="rect">
            <a:avLst/>
          </a:prstGeom>
        </p:spPr>
        <p:txBody>
          <a:bodyPr vert="horz" lIns="0" tIns="0" rIns="0" bIns="0" rtlCol="0">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spcAft>
                <a:spcPts val="200"/>
              </a:spcAft>
            </a:pPr>
            <a:r>
              <a:rPr lang="en-US"/>
              <a:t>Our Partners and References</a:t>
            </a:r>
          </a:p>
          <a:p>
            <a:pPr lvl="1">
              <a:spcAft>
                <a:spcPts val="200"/>
              </a:spcAft>
            </a:pPr>
            <a:r>
              <a:rPr lang="en-US" sz="1200"/>
              <a:t>Close collaboration with msg</a:t>
            </a:r>
          </a:p>
          <a:p>
            <a:pPr lvl="1">
              <a:spcAft>
                <a:spcPts val="200"/>
              </a:spcAft>
            </a:pPr>
            <a:r>
              <a:rPr lang="en-US" sz="1200"/>
              <a:t>Selected customers: </a:t>
            </a:r>
            <a:r>
              <a:rPr lang="en-US" sz="1200" err="1"/>
              <a:t>B.Braun</a:t>
            </a:r>
            <a:r>
              <a:rPr lang="en-US" sz="1200"/>
              <a:t>, Bosch, Clariant, GETEC, Harting, Henkel, Merck, </a:t>
            </a:r>
            <a:r>
              <a:rPr lang="en-US" sz="1200" err="1"/>
              <a:t>Zentis</a:t>
            </a:r>
            <a:endParaRPr lang="en-US" sz="1200"/>
          </a:p>
          <a:p>
            <a:pPr lvl="1">
              <a:spcAft>
                <a:spcPts val="200"/>
              </a:spcAft>
            </a:pPr>
            <a:r>
              <a:rPr lang="en-US" sz="1200"/>
              <a:t>All of our customers remain loyal to us even after a decade</a:t>
            </a:r>
          </a:p>
        </p:txBody>
      </p:sp>
      <p:grpSp>
        <p:nvGrpSpPr>
          <p:cNvPr id="2" name="Gruppieren 1">
            <a:extLst>
              <a:ext uri="{FF2B5EF4-FFF2-40B4-BE49-F238E27FC236}">
                <a16:creationId xmlns:a16="http://schemas.microsoft.com/office/drawing/2014/main" id="{B25443C0-4435-7FE4-4640-6C900CCC15D1}"/>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F641B091-5704-D9A2-6E86-FA04D554BF81}"/>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3" name="Grafik 22">
              <a:extLst>
                <a:ext uri="{FF2B5EF4-FFF2-40B4-BE49-F238E27FC236}">
                  <a16:creationId xmlns:a16="http://schemas.microsoft.com/office/drawing/2014/main" id="{FE804D56-3A5C-FE72-417B-3156040D80F6}"/>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F89EA3F8-4B4D-7EC7-D171-122AA67B00D2}"/>
              </a:ext>
            </a:extLst>
          </p:cNvPr>
          <p:cNvGrpSpPr/>
          <p:nvPr/>
        </p:nvGrpSpPr>
        <p:grpSpPr>
          <a:xfrm>
            <a:off x="8760781" y="3950290"/>
            <a:ext cx="703694" cy="703694"/>
            <a:chOff x="8575325" y="4111833"/>
            <a:chExt cx="869145" cy="869145"/>
          </a:xfrm>
        </p:grpSpPr>
        <p:sp>
          <p:nvSpPr>
            <p:cNvPr id="27" name="Kreis: nicht ausgefüllt 26">
              <a:extLst>
                <a:ext uri="{FF2B5EF4-FFF2-40B4-BE49-F238E27FC236}">
                  <a16:creationId xmlns:a16="http://schemas.microsoft.com/office/drawing/2014/main" id="{90C43BA5-F8AF-C4C7-119A-065A9D56542D}"/>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9" name="Grafik 28">
              <a:extLst>
                <a:ext uri="{FF2B5EF4-FFF2-40B4-BE49-F238E27FC236}">
                  <a16:creationId xmlns:a16="http://schemas.microsoft.com/office/drawing/2014/main" id="{C35E16C8-400A-3CAE-7A33-B3DC61E9142C}"/>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F700440A-3097-ADFC-CA82-4AE3737A9FEE}"/>
              </a:ext>
            </a:extLst>
          </p:cNvPr>
          <p:cNvGrpSpPr/>
          <p:nvPr/>
        </p:nvGrpSpPr>
        <p:grpSpPr>
          <a:xfrm>
            <a:off x="4138804" y="3950290"/>
            <a:ext cx="703694" cy="703694"/>
            <a:chOff x="3460071" y="4111833"/>
            <a:chExt cx="869145" cy="869145"/>
          </a:xfrm>
        </p:grpSpPr>
        <p:sp>
          <p:nvSpPr>
            <p:cNvPr id="32" name="Kreis: nicht ausgefüllt 31">
              <a:extLst>
                <a:ext uri="{FF2B5EF4-FFF2-40B4-BE49-F238E27FC236}">
                  <a16:creationId xmlns:a16="http://schemas.microsoft.com/office/drawing/2014/main" id="{86CD4C46-B874-A964-24C6-65E318AFD641}"/>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3" name="Grafik 32">
              <a:extLst>
                <a:ext uri="{FF2B5EF4-FFF2-40B4-BE49-F238E27FC236}">
                  <a16:creationId xmlns:a16="http://schemas.microsoft.com/office/drawing/2014/main" id="{C863ADBB-8CFA-1C37-709B-93F8C74EDB3C}"/>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FDECFD35-1B32-60EF-1A5B-66EC707CFEA4}"/>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476FDF47-6121-E53D-3A42-28F22CA5D2FC}"/>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6" name="Grafik 35">
              <a:extLst>
                <a:ext uri="{FF2B5EF4-FFF2-40B4-BE49-F238E27FC236}">
                  <a16:creationId xmlns:a16="http://schemas.microsoft.com/office/drawing/2014/main" id="{260E17F4-D186-F19B-561A-0026C7799C4B}"/>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cxnSp>
        <p:nvCxnSpPr>
          <p:cNvPr id="5" name="Gerader Verbinder 19">
            <a:extLst>
              <a:ext uri="{FF2B5EF4-FFF2-40B4-BE49-F238E27FC236}">
                <a16:creationId xmlns:a16="http://schemas.microsoft.com/office/drawing/2014/main" id="{8BCEB4DB-2C59-CFB8-9A51-80E3F19CF4E8}"/>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Rechteck: diagonal liegende Ecken abgerundet 3">
            <a:extLst>
              <a:ext uri="{FF2B5EF4-FFF2-40B4-BE49-F238E27FC236}">
                <a16:creationId xmlns:a16="http://schemas.microsoft.com/office/drawing/2014/main" id="{9EB09230-CB86-D0E2-23C0-66120B168803}"/>
              </a:ext>
            </a:extLst>
          </p:cNvPr>
          <p:cNvSpPr/>
          <p:nvPr>
            <p:custDataLst>
              <p:tags r:id="rId5"/>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en-US" sz="1200" b="1">
                <a:ea typeface=""/>
                <a:cs typeface="+mn-lt"/>
              </a:rPr>
              <a:t>Contact person</a:t>
            </a:r>
          </a:p>
          <a:p>
            <a:r>
              <a:rPr lang="de-DE" sz="1200">
                <a:ea typeface="+mn-lt"/>
                <a:cs typeface="+mn-lt"/>
              </a:rPr>
              <a:t>Jörg Hanken</a:t>
            </a:r>
            <a:endParaRPr lang="de-DE" sz="1200"/>
          </a:p>
          <a:p>
            <a:r>
              <a:rPr lang="de-DE" sz="1200">
                <a:ea typeface="+mn-lt"/>
                <a:cs typeface="+mn-lt"/>
              </a:rPr>
              <a:t>+49 172 90 250 80</a:t>
            </a:r>
            <a:endParaRPr lang="de-DE" sz="1200"/>
          </a:p>
          <a:p>
            <a:r>
              <a:rPr lang="de-DE" sz="1200">
                <a:ea typeface="+mn-lt"/>
                <a:cs typeface="+mn-lt"/>
              </a:rPr>
              <a:t>Joerg.hanken@optravis.com</a:t>
            </a:r>
            <a:endParaRPr lang="de-DE" sz="1200"/>
          </a:p>
        </p:txBody>
      </p:sp>
      <p:sp>
        <p:nvSpPr>
          <p:cNvPr id="6" name="Titel 11">
            <a:extLst>
              <a:ext uri="{FF2B5EF4-FFF2-40B4-BE49-F238E27FC236}">
                <a16:creationId xmlns:a16="http://schemas.microsoft.com/office/drawing/2014/main" id="{7B02BD65-2FA8-4DEE-AB31-D3FC840C20A7}"/>
              </a:ext>
            </a:extLst>
          </p:cNvPr>
          <p:cNvSpPr txBox="1">
            <a:spLocks/>
          </p:cNvSpPr>
          <p:nvPr>
            <p:custDataLst>
              <p:tags r:id="rId6"/>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pic>
        <p:nvPicPr>
          <p:cNvPr id="7" name="Grafik 6" descr="Ein Bild, das Text, Schrift, Grafiken, Grafikdesign enthält.&#10;&#10;KI-generierte Inhalte können fehlerhaft sein.">
            <a:extLst>
              <a:ext uri="{FF2B5EF4-FFF2-40B4-BE49-F238E27FC236}">
                <a16:creationId xmlns:a16="http://schemas.microsoft.com/office/drawing/2014/main" id="{936D711F-14CD-4309-1A03-2E6E6AEDC2ED}"/>
              </a:ext>
            </a:extLst>
          </p:cNvPr>
          <p:cNvPicPr>
            <a:picLocks noChangeAspect="1"/>
          </p:cNvPicPr>
          <p:nvPr/>
        </p:nvPicPr>
        <p:blipFill>
          <a:blip r:embed="rId17"/>
          <a:srcRect l="-1551" t="-3390" r="-3185" b="-5085"/>
          <a:stretch/>
        </p:blipFill>
        <p:spPr>
          <a:xfrm>
            <a:off x="10012641" y="2225645"/>
            <a:ext cx="1770654" cy="457931"/>
          </a:xfrm>
          <a:prstGeom prst="rect">
            <a:avLst/>
          </a:prstGeom>
        </p:spPr>
      </p:pic>
    </p:spTree>
    <p:extLst>
      <p:ext uri="{BB962C8B-B14F-4D97-AF65-F5344CB8AC3E}">
        <p14:creationId xmlns:p14="http://schemas.microsoft.com/office/powerpoint/2010/main" val="18110039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A0B3B-9AB9-2608-1688-68D04A5F3BC5}"/>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563CACB8-0C65-9984-CF42-16A0D35A7B66}"/>
              </a:ext>
            </a:extLst>
          </p:cNvPr>
          <p:cNvSpPr/>
          <p:nvPr/>
        </p:nvSpPr>
        <p:spPr>
          <a:xfrm>
            <a:off x="9671368" y="1781092"/>
            <a:ext cx="2685601"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cap="none" normalizeH="0" baseline="0" noProof="0">
                <a:ln>
                  <a:noFill/>
                </a:ln>
                <a:solidFill>
                  <a:prstClr val="white"/>
                </a:solidFill>
                <a:effectLst/>
                <a:uLnTx/>
                <a:uFillTx/>
                <a:latin typeface="Aptos"/>
                <a:ea typeface="Aptos"/>
                <a:cs typeface="+mn-lt"/>
              </a:rPr>
              <a:t>Contact pers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noProof="0">
                <a:ln>
                  <a:noFill/>
                </a:ln>
                <a:solidFill>
                  <a:prstClr val="white"/>
                </a:solidFill>
                <a:effectLst/>
                <a:uLnTx/>
                <a:uFillTx/>
                <a:latin typeface="Aptos"/>
                <a:ea typeface="Aptos"/>
                <a:cs typeface="+mn-lt"/>
              </a:rPr>
              <a:t>Stefan Kli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noProof="0">
                <a:ln>
                  <a:noFill/>
                </a:ln>
                <a:solidFill>
                  <a:prstClr val="white"/>
                </a:solidFill>
                <a:effectLst/>
                <a:uLnTx/>
                <a:uFillTx/>
                <a:latin typeface="Aptos"/>
                <a:ea typeface="Aptos"/>
                <a:cs typeface="+mn-lt"/>
              </a:rPr>
              <a:t>+49(171)972759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noProof="0">
                <a:ln>
                  <a:noFill/>
                </a:ln>
                <a:solidFill>
                  <a:prstClr val="white"/>
                </a:solidFill>
                <a:effectLst/>
                <a:uLnTx/>
                <a:uFillTx/>
                <a:latin typeface="Aptos"/>
                <a:ea typeface="Aptos"/>
                <a:cs typeface="+mn-lt"/>
              </a:rPr>
              <a:t>Stefan.Klinge@msg.group</a:t>
            </a:r>
          </a:p>
        </p:txBody>
      </p:sp>
      <p:sp>
        <p:nvSpPr>
          <p:cNvPr id="12" name="Titel 5">
            <a:extLst>
              <a:ext uri="{FF2B5EF4-FFF2-40B4-BE49-F238E27FC236}">
                <a16:creationId xmlns:a16="http://schemas.microsoft.com/office/drawing/2014/main" id="{766C5BD3-1D53-27AA-F4BA-2B8F01CAA59D}"/>
              </a:ext>
            </a:extLst>
          </p:cNvPr>
          <p:cNvSpPr>
            <a:spLocks noGrp="1"/>
          </p:cNvSpPr>
          <p:nvPr>
            <p:ph type="title"/>
          </p:nvPr>
        </p:nvSpPr>
        <p:spPr>
          <a:xfrm>
            <a:off x="649008" y="620713"/>
            <a:ext cx="9807031" cy="738664"/>
          </a:xfrm>
        </p:spPr>
        <p:txBody>
          <a:bodyPr vert="horz"/>
          <a:lstStyle/>
          <a:p>
            <a:r>
              <a:rPr lang="en-US"/>
              <a:t>The most advanced way to test applications </a:t>
            </a:r>
            <a:r>
              <a:rPr lang="en-US" b="1">
                <a:ea typeface=""/>
                <a:cs typeface="+mn-lt"/>
              </a:rPr>
              <a:t>msg.ZenTestAI  </a:t>
            </a:r>
          </a:p>
        </p:txBody>
      </p:sp>
      <p:sp>
        <p:nvSpPr>
          <p:cNvPr id="14" name="Fußzeilenplatzhalter 1">
            <a:extLst>
              <a:ext uri="{FF2B5EF4-FFF2-40B4-BE49-F238E27FC236}">
                <a16:creationId xmlns:a16="http://schemas.microsoft.com/office/drawing/2014/main" id="{06A65D08-0484-6BA4-4685-F6D4A0D5D572}"/>
              </a:ext>
            </a:extLst>
          </p:cNvPr>
          <p:cNvSpPr>
            <a:spLocks noGrp="1"/>
          </p:cNvSpPr>
          <p:nvPr>
            <p:ph type="ftr" sz="quarter" idx="10"/>
          </p:nvPr>
        </p:nvSpPr>
        <p:spPr>
          <a:xfrm>
            <a:off x="655780" y="6443762"/>
            <a:ext cx="4968501" cy="153888"/>
          </a:xfrm>
        </p:spPr>
        <p:txBody>
          <a:bodyPr/>
          <a:lstStyle/>
          <a:p>
            <a:pPr lvl="0">
              <a:defRPr/>
            </a:pPr>
            <a:r>
              <a:rPr kumimoji="0" lang="en-US" sz="1000" b="0" i="0" u="none" strike="noStrike" cap="none" normalizeH="0" baseline="0" noProof="0" dirty="0">
                <a:ln>
                  <a:noFill/>
                </a:ln>
                <a:solidFill>
                  <a:prstClr val="black"/>
                </a:solidFill>
                <a:effectLst/>
                <a:uLnTx/>
                <a:uFillTx/>
                <a:latin typeface="Aptos"/>
                <a:ea typeface="Aptos"/>
                <a:cs typeface="+mn-cs"/>
              </a:rPr>
              <a:t>© msg systems ag | </a:t>
            </a:r>
            <a:r>
              <a:rPr lang="en-US" dirty="0"/>
              <a:t>2026</a:t>
            </a:r>
            <a:r>
              <a:rPr kumimoji="0" lang="en-US" sz="1000" b="0" i="0" u="none" strike="noStrike" cap="none" normalizeH="0" baseline="0" noProof="0" dirty="0">
                <a:ln>
                  <a:noFill/>
                </a:ln>
                <a:solidFill>
                  <a:prstClr val="black"/>
                </a:solidFill>
                <a:effectLst/>
                <a:uLnTx/>
                <a:uFillTx/>
                <a:latin typeface="Aptos"/>
                <a:ea typeface="Aptos"/>
                <a:cs typeface="+mn-cs"/>
              </a:rPr>
              <a:t> | msg Company Presentation</a:t>
            </a:r>
          </a:p>
        </p:txBody>
      </p:sp>
      <p:sp>
        <p:nvSpPr>
          <p:cNvPr id="16" name="Foliennummernplatzhalter 2">
            <a:extLst>
              <a:ext uri="{FF2B5EF4-FFF2-40B4-BE49-F238E27FC236}">
                <a16:creationId xmlns:a16="http://schemas.microsoft.com/office/drawing/2014/main" id="{860319AF-3739-CFE9-F445-82B315CE6652}"/>
              </a:ext>
            </a:extLst>
          </p:cNvPr>
          <p:cNvSpPr>
            <a:spLocks noGrp="1"/>
          </p:cNvSpPr>
          <p:nvPr>
            <p:ph type="sldNum" sz="quarter" idx="11"/>
          </p:nvPr>
        </p:nvSpPr>
        <p:spPr>
          <a:xfrm>
            <a:off x="11358563" y="6443762"/>
            <a:ext cx="431620"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7B0579-4238-4E44-9A9E-134B676F827C}" type="slidenum">
              <a:rPr kumimoji="0" lang="de-DE" sz="1000" b="0" i="0" u="none" strike="noStrike" kern="1200" cap="none" spc="0" normalizeH="0" baseline="0" noProof="0" smtClean="0">
                <a:ln>
                  <a:noFill/>
                </a:ln>
                <a:solidFill>
                  <a:prstClr val="black"/>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de-DE" sz="1000" b="0" i="0" u="none" strike="noStrike" kern="1200" cap="none" spc="0" normalizeH="0" baseline="0" noProof="0">
              <a:ln>
                <a:noFill/>
              </a:ln>
              <a:solidFill>
                <a:prstClr val="black"/>
              </a:solidFill>
              <a:effectLst/>
              <a:uLnTx/>
              <a:uFillTx/>
              <a:latin typeface="Aptos"/>
              <a:ea typeface="+mn-ea"/>
              <a:cs typeface="+mn-cs"/>
            </a:endParaRPr>
          </a:p>
        </p:txBody>
      </p:sp>
      <p:sp>
        <p:nvSpPr>
          <p:cNvPr id="24" name="Textfeld 23">
            <a:extLst>
              <a:ext uri="{FF2B5EF4-FFF2-40B4-BE49-F238E27FC236}">
                <a16:creationId xmlns:a16="http://schemas.microsoft.com/office/drawing/2014/main" id="{40A20DD1-DA91-9115-2B85-E124F31C2EC1}"/>
              </a:ext>
            </a:extLst>
          </p:cNvPr>
          <p:cNvSpPr txBox="1"/>
          <p:nvPr>
            <p:custDataLst>
              <p:tags r:id="rId1"/>
            </p:custDataLst>
          </p:nvPr>
        </p:nvSpPr>
        <p:spPr>
          <a:xfrm>
            <a:off x="653194" y="1757105"/>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ts val="1350"/>
              </a:lnSpc>
              <a:spcBef>
                <a:spcPts val="0"/>
              </a:spcBef>
              <a:spcAft>
                <a:spcPts val="600"/>
              </a:spcAft>
              <a:buClrTx/>
              <a:buSzTx/>
              <a:buFont typeface="Wingdings" panose="05000000000000000000" pitchFamily="2" charset="2"/>
              <a:buNone/>
              <a:tabLst/>
              <a:defRPr/>
            </a:pPr>
            <a:r>
              <a:rPr kumimoji="0" lang="en-US" sz="1400" b="1" i="0" u="none" strike="noStrike" cap="none" normalizeH="0" baseline="0" noProof="0">
                <a:ln>
                  <a:noFill/>
                </a:ln>
                <a:solidFill>
                  <a:prstClr val="black"/>
                </a:solidFill>
                <a:effectLst/>
                <a:uLnTx/>
                <a:uFillTx/>
                <a:latin typeface="Aptos"/>
                <a:ea typeface="Aptos"/>
                <a:cs typeface="Segoe UI"/>
              </a:rPr>
              <a:t>Your Challenge</a:t>
            </a:r>
          </a:p>
          <a:p>
            <a:pPr marL="215900" marR="0" lvl="1" indent="-215900" algn="l" defTabSz="914400" rtl="0" eaLnBrk="1" fontAlgn="auto" latinLnBrk="0" hangingPunct="1">
              <a:lnSpc>
                <a:spcPts val="1125"/>
              </a:lnSpc>
              <a:spcBef>
                <a:spcPts val="0"/>
              </a:spcBef>
              <a:spcAft>
                <a:spcPts val="600"/>
              </a:spcAft>
              <a:buClr>
                <a:srgbClr val="A01441"/>
              </a:buClr>
              <a:buSzTx/>
              <a:buFont typeface=""/>
              <a:buChar char="•"/>
              <a:tabLst/>
              <a:defRPr/>
            </a:pPr>
            <a:r>
              <a:rPr kumimoji="0" lang="en-US" sz="1200" b="0" i="0" u="none" strike="noStrike" cap="none" normalizeH="0" baseline="0" noProof="0">
                <a:ln>
                  <a:noFill/>
                </a:ln>
                <a:solidFill>
                  <a:prstClr val="black"/>
                </a:solidFill>
                <a:effectLst/>
                <a:uLnTx/>
                <a:uFillTx/>
                <a:latin typeface="Aptos"/>
                <a:ea typeface="Aptos"/>
                <a:cs typeface="Arial"/>
              </a:rPr>
              <a:t>Testing user interfaces requires a high level </a:t>
            </a:r>
            <a:br>
              <a:rPr lang="en-US" sz="1200">
                <a:solidFill>
                  <a:prstClr val="black"/>
                </a:solidFill>
                <a:latin typeface="Aptos"/>
                <a:ea typeface="Aptos"/>
                <a:cs typeface="Arial"/>
              </a:rPr>
            </a:br>
            <a:r>
              <a:rPr kumimoji="0" lang="en-US" sz="1200" b="0" i="0" u="none" strike="noStrike" cap="none" normalizeH="0" baseline="0" noProof="0">
                <a:ln>
                  <a:noFill/>
                </a:ln>
                <a:solidFill>
                  <a:prstClr val="black"/>
                </a:solidFill>
                <a:effectLst/>
                <a:uLnTx/>
                <a:uFillTx/>
                <a:latin typeface="Aptos"/>
                <a:ea typeface="Aptos"/>
                <a:cs typeface="Arial"/>
              </a:rPr>
              <a:t>of effort</a:t>
            </a:r>
          </a:p>
          <a:p>
            <a:pPr marL="215900" marR="0" lvl="1" indent="-215900" algn="l" defTabSz="914400" rtl="0" eaLnBrk="1" fontAlgn="auto" latinLnBrk="0" hangingPunct="1">
              <a:lnSpc>
                <a:spcPts val="1125"/>
              </a:lnSpc>
              <a:spcBef>
                <a:spcPts val="0"/>
              </a:spcBef>
              <a:spcAft>
                <a:spcPts val="600"/>
              </a:spcAft>
              <a:buClr>
                <a:srgbClr val="A01441"/>
              </a:buClr>
              <a:buSzTx/>
              <a:buFont typeface=""/>
              <a:buChar char="•"/>
              <a:tabLst/>
              <a:defRPr/>
            </a:pPr>
            <a:r>
              <a:rPr kumimoji="0" lang="en-US" sz="1200" b="0" i="0" u="none" strike="noStrike" cap="none" normalizeH="0" baseline="0" noProof="0">
                <a:ln>
                  <a:noFill/>
                </a:ln>
                <a:solidFill>
                  <a:srgbClr val="000000"/>
                </a:solidFill>
                <a:effectLst/>
                <a:uLnTx/>
                <a:uFillTx/>
                <a:latin typeface="Aptos"/>
                <a:ea typeface="Aptos"/>
                <a:cs typeface="Arial"/>
              </a:rPr>
              <a:t>Regular releases necessitate numerous regression </a:t>
            </a:r>
            <a:br>
              <a:rPr kumimoji="0" lang="en-US" sz="1200" b="0" i="0" u="none" strike="noStrike" cap="none" normalizeH="0" baseline="0" noProof="0">
                <a:ln>
                  <a:noFill/>
                </a:ln>
                <a:solidFill>
                  <a:srgbClr val="000000"/>
                </a:solidFill>
                <a:effectLst/>
                <a:uLnTx/>
                <a:uFillTx/>
                <a:latin typeface="Aptos"/>
                <a:ea typeface="Aptos"/>
                <a:cs typeface="Arial"/>
              </a:rPr>
            </a:br>
            <a:r>
              <a:rPr kumimoji="0" lang="en-US" sz="1200" b="0" i="0" u="none" strike="noStrike" cap="none" normalizeH="0" baseline="0" noProof="0">
                <a:ln>
                  <a:noFill/>
                </a:ln>
                <a:solidFill>
                  <a:srgbClr val="000000"/>
                </a:solidFill>
                <a:effectLst/>
                <a:uLnTx/>
                <a:uFillTx/>
                <a:latin typeface="Aptos"/>
                <a:ea typeface="Aptos"/>
                <a:cs typeface="Arial"/>
              </a:rPr>
              <a:t>tests</a:t>
            </a:r>
          </a:p>
          <a:p>
            <a:pPr marL="215900" marR="0" lvl="1" indent="-215900" algn="l" defTabSz="914400" rtl="0" eaLnBrk="1" fontAlgn="auto" latinLnBrk="0" hangingPunct="1">
              <a:lnSpc>
                <a:spcPts val="1125"/>
              </a:lnSpc>
              <a:spcBef>
                <a:spcPts val="0"/>
              </a:spcBef>
              <a:spcAft>
                <a:spcPts val="600"/>
              </a:spcAft>
              <a:buClr>
                <a:srgbClr val="A01441"/>
              </a:buClr>
              <a:buSzTx/>
              <a:buFont typeface=""/>
              <a:buChar char="•"/>
              <a:tabLst/>
              <a:defRPr/>
            </a:pPr>
            <a:r>
              <a:rPr kumimoji="0" lang="en-US" sz="1200" b="0" i="0" u="none" strike="noStrike" cap="none" normalizeH="0" baseline="0" noProof="0">
                <a:ln>
                  <a:noFill/>
                </a:ln>
                <a:solidFill>
                  <a:srgbClr val="000000"/>
                </a:solidFill>
                <a:effectLst/>
                <a:uLnTx/>
                <a:uFillTx/>
                <a:latin typeface="Aptos"/>
                <a:ea typeface="Aptos"/>
                <a:cs typeface="Arial"/>
              </a:rPr>
              <a:t>A considerable amount of effort is needed to keep test </a:t>
            </a:r>
            <a:br>
              <a:rPr kumimoji="0" lang="en-US" sz="1200" b="0" i="0" u="none" strike="noStrike" cap="none" normalizeH="0" baseline="0" noProof="0">
                <a:ln>
                  <a:noFill/>
                </a:ln>
                <a:solidFill>
                  <a:srgbClr val="000000"/>
                </a:solidFill>
                <a:effectLst/>
                <a:uLnTx/>
                <a:uFillTx/>
                <a:latin typeface="Aptos"/>
                <a:ea typeface="Aptos"/>
                <a:cs typeface="Arial"/>
              </a:rPr>
            </a:br>
            <a:r>
              <a:rPr kumimoji="0" lang="en-US" sz="1200" b="0" i="0" u="none" strike="noStrike" cap="none" normalizeH="0" baseline="0" noProof="0">
                <a:ln>
                  <a:noFill/>
                </a:ln>
                <a:solidFill>
                  <a:srgbClr val="000000"/>
                </a:solidFill>
                <a:effectLst/>
                <a:uLnTx/>
                <a:uFillTx/>
                <a:latin typeface="Aptos"/>
                <a:ea typeface="Aptos"/>
                <a:cs typeface="Arial"/>
              </a:rPr>
              <a:t>cases up to date</a:t>
            </a:r>
          </a:p>
        </p:txBody>
      </p:sp>
      <p:sp>
        <p:nvSpPr>
          <p:cNvPr id="26" name="Textfeld 25">
            <a:extLst>
              <a:ext uri="{FF2B5EF4-FFF2-40B4-BE49-F238E27FC236}">
                <a16:creationId xmlns:a16="http://schemas.microsoft.com/office/drawing/2014/main" id="{5904AEFE-FB62-3586-83E7-2A8340FEABD6}"/>
              </a:ext>
            </a:extLst>
          </p:cNvPr>
          <p:cNvSpPr txBox="1"/>
          <p:nvPr>
            <p:custDataLst>
              <p:tags r:id="rId2"/>
            </p:custDataLst>
          </p:nvPr>
        </p:nvSpPr>
        <p:spPr>
          <a:xfrm>
            <a:off x="5227129" y="1752919"/>
            <a:ext cx="3884570" cy="2438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ct val="100000"/>
              </a:lnSpc>
              <a:spcBef>
                <a:spcPts val="0"/>
              </a:spcBef>
              <a:spcAft>
                <a:spcPts val="400"/>
              </a:spcAft>
              <a:buClrTx/>
              <a:buSzTx/>
              <a:buFont typeface="Wingdings" panose="05000000000000000000" pitchFamily="2" charset="2"/>
              <a:buNone/>
              <a:tabLst/>
              <a:defRPr/>
            </a:pPr>
            <a:r>
              <a:rPr kumimoji="0" lang="en-US" sz="1400" b="1" i="0" u="none" strike="noStrike" cap="none" normalizeH="0" baseline="0" noProof="0">
                <a:ln>
                  <a:noFill/>
                </a:ln>
                <a:solidFill>
                  <a:prstClr val="black"/>
                </a:solidFill>
                <a:effectLst/>
                <a:uLnTx/>
                <a:uFillTx/>
                <a:latin typeface="Aptos"/>
                <a:ea typeface="Aptos"/>
                <a:cs typeface="+mn-cs"/>
              </a:rPr>
              <a:t>Your Benefits</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prstClr val="black"/>
                </a:solidFill>
                <a:effectLst/>
                <a:uLnTx/>
                <a:uFillTx/>
                <a:latin typeface="Aptos"/>
                <a:ea typeface="Aptos"/>
                <a:cs typeface="+mn-cs"/>
              </a:rPr>
              <a:t>Quick, easy, and user-friendly test creation</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prstClr val="black"/>
                </a:solidFill>
                <a:effectLst/>
                <a:uLnTx/>
                <a:uFillTx/>
                <a:latin typeface="Aptos"/>
                <a:ea typeface="Aptos"/>
                <a:cs typeface="+mn-cs"/>
              </a:rPr>
              <a:t>Economical and automated testing</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Minimum maintenance required</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Clear and accountable test results</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Reliable and comprehensible tests that remain unaffected by UI modifications</a:t>
            </a:r>
          </a:p>
        </p:txBody>
      </p:sp>
      <p:sp>
        <p:nvSpPr>
          <p:cNvPr id="28" name="Textfeld 27">
            <a:extLst>
              <a:ext uri="{FF2B5EF4-FFF2-40B4-BE49-F238E27FC236}">
                <a16:creationId xmlns:a16="http://schemas.microsoft.com/office/drawing/2014/main" id="{6C424FDA-BD03-DA46-3851-DB2C06B000F4}"/>
              </a:ext>
            </a:extLst>
          </p:cNvPr>
          <p:cNvSpPr txBox="1"/>
          <p:nvPr>
            <p:custDataLst>
              <p:tags r:id="rId3"/>
            </p:custDataLst>
          </p:nvPr>
        </p:nvSpPr>
        <p:spPr>
          <a:xfrm>
            <a:off x="653195" y="4148821"/>
            <a:ext cx="4012513" cy="1927896"/>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ct val="100000"/>
              </a:lnSpc>
              <a:spcBef>
                <a:spcPts val="0"/>
              </a:spcBef>
              <a:spcAft>
                <a:spcPts val="400"/>
              </a:spcAft>
              <a:buClrTx/>
              <a:buSzTx/>
              <a:buFont typeface="Wingdings" panose="05000000000000000000" pitchFamily="2" charset="2"/>
              <a:buNone/>
              <a:tabLst/>
              <a:defRPr/>
            </a:pPr>
            <a:r>
              <a:rPr kumimoji="0" lang="en-US" sz="1400" b="1" i="0" u="none" strike="noStrike" cap="none" normalizeH="0" baseline="0" noProof="0">
                <a:ln>
                  <a:noFill/>
                </a:ln>
                <a:solidFill>
                  <a:prstClr val="black"/>
                </a:solidFill>
                <a:effectLst/>
                <a:uLnTx/>
                <a:uFillTx/>
                <a:latin typeface="Aptos"/>
                <a:ea typeface="Aptos"/>
                <a:cs typeface="+mn-cs"/>
              </a:rPr>
              <a:t>Our Offering</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Test case descriptions are provided in natural </a:t>
            </a:r>
            <a:br>
              <a:rPr kumimoji="0" lang="en-US" sz="1200" b="0" i="0" u="none" strike="noStrike" cap="none" normalizeH="0" baseline="0" noProof="0">
                <a:ln>
                  <a:noFill/>
                </a:ln>
                <a:solidFill>
                  <a:srgbClr val="131313"/>
                </a:solidFill>
                <a:effectLst/>
                <a:uLnTx/>
                <a:uFillTx/>
                <a:latin typeface="Aptos"/>
                <a:ea typeface="Aptos"/>
                <a:cs typeface="+mn-cs"/>
              </a:rPr>
            </a:br>
            <a:r>
              <a:rPr kumimoji="0" lang="en-US" sz="1200" b="0" i="0" u="none" strike="noStrike" cap="none" normalizeH="0" baseline="0" noProof="0">
                <a:ln>
                  <a:noFill/>
                </a:ln>
                <a:solidFill>
                  <a:srgbClr val="131313"/>
                </a:solidFill>
                <a:effectLst/>
                <a:uLnTx/>
                <a:uFillTx/>
                <a:latin typeface="Aptos"/>
                <a:ea typeface="Aptos"/>
                <a:cs typeface="+mn-cs"/>
              </a:rPr>
              <a:t>language; no technical knowledge or test code </a:t>
            </a:r>
            <a:br>
              <a:rPr kumimoji="0" lang="en-US" sz="1200" b="0" i="0" u="none" strike="noStrike" cap="none" normalizeH="0" baseline="0" noProof="0">
                <a:ln>
                  <a:noFill/>
                </a:ln>
                <a:solidFill>
                  <a:srgbClr val="131313"/>
                </a:solidFill>
                <a:effectLst/>
                <a:uLnTx/>
                <a:uFillTx/>
                <a:latin typeface="Aptos"/>
                <a:ea typeface="Aptos"/>
                <a:cs typeface="+mn-cs"/>
              </a:rPr>
            </a:br>
            <a:r>
              <a:rPr kumimoji="0" lang="en-US" sz="1200" b="0" i="0" u="none" strike="noStrike" cap="none" normalizeH="0" baseline="0" noProof="0">
                <a:ln>
                  <a:noFill/>
                </a:ln>
                <a:solidFill>
                  <a:srgbClr val="131313"/>
                </a:solidFill>
                <a:effectLst/>
                <a:uLnTx/>
                <a:uFillTx/>
                <a:latin typeface="Aptos"/>
                <a:ea typeface="Aptos"/>
                <a:cs typeface="+mn-cs"/>
              </a:rPr>
              <a:t>required</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Test cases are robust against UI modifications</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AI interprets the test cases, runs them, and then delivers a business-level interpretation of the test results </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endParaRPr kumimoji="0" lang="de-DE" sz="1200" b="0" i="0" u="none" strike="noStrike" kern="1200" cap="none" spc="0" normalizeH="0" baseline="0" noProof="0">
              <a:ln>
                <a:noFill/>
              </a:ln>
              <a:solidFill>
                <a:srgbClr val="131313"/>
              </a:solidFill>
              <a:effectLst/>
              <a:uLnTx/>
              <a:uFillTx/>
              <a:latin typeface="Aptos"/>
              <a:ea typeface="+mn-ea"/>
              <a:cs typeface="+mn-cs"/>
            </a:endParaRPr>
          </a:p>
        </p:txBody>
      </p:sp>
      <p:sp>
        <p:nvSpPr>
          <p:cNvPr id="30" name="Textfeld 29">
            <a:extLst>
              <a:ext uri="{FF2B5EF4-FFF2-40B4-BE49-F238E27FC236}">
                <a16:creationId xmlns:a16="http://schemas.microsoft.com/office/drawing/2014/main" id="{3BAF8674-2A5B-9674-C333-C65A2B8E2EF5}"/>
              </a:ext>
            </a:extLst>
          </p:cNvPr>
          <p:cNvSpPr txBox="1"/>
          <p:nvPr>
            <p:custDataLst>
              <p:tags r:id="rId4"/>
            </p:custDataLst>
          </p:nvPr>
        </p:nvSpPr>
        <p:spPr>
          <a:xfrm>
            <a:off x="5227129" y="4148821"/>
            <a:ext cx="377887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marL="0" marR="0" lvl="0" indent="0" algn="l" defTabSz="914400" rtl="0" eaLnBrk="1" fontAlgn="auto" latinLnBrk="0" hangingPunct="1">
              <a:lnSpc>
                <a:spcPct val="100000"/>
              </a:lnSpc>
              <a:spcBef>
                <a:spcPts val="0"/>
              </a:spcBef>
              <a:spcAft>
                <a:spcPts val="400"/>
              </a:spcAft>
              <a:buClrTx/>
              <a:buSzTx/>
              <a:buFont typeface="Wingdings" panose="05000000000000000000" pitchFamily="2" charset="2"/>
              <a:buNone/>
              <a:tabLst/>
              <a:defRPr/>
            </a:pPr>
            <a:r>
              <a:rPr kumimoji="0" lang="en-US" sz="1400" b="1" i="0" u="none" strike="noStrike" cap="none" normalizeH="0" baseline="0" noProof="0">
                <a:ln>
                  <a:noFill/>
                </a:ln>
                <a:solidFill>
                  <a:prstClr val="black"/>
                </a:solidFill>
                <a:effectLst/>
                <a:uLnTx/>
                <a:uFillTx/>
                <a:latin typeface="Aptos"/>
                <a:ea typeface="Aptos"/>
                <a:cs typeface="+mn-cs"/>
              </a:rPr>
              <a:t>Our Partners and References</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prstClr val="black"/>
                </a:solidFill>
                <a:effectLst/>
                <a:uLnTx/>
                <a:uFillTx/>
                <a:latin typeface="Aptos"/>
                <a:ea typeface="Aptos"/>
                <a:cs typeface="+mn-cs"/>
              </a:rPr>
              <a:t>Selected customers: </a:t>
            </a:r>
            <a:br>
              <a:rPr kumimoji="0" lang="en-US" sz="1200" b="0" i="0" u="none" strike="noStrike" cap="none" normalizeH="0" baseline="0" noProof="0">
                <a:ln>
                  <a:noFill/>
                </a:ln>
                <a:solidFill>
                  <a:prstClr val="black"/>
                </a:solidFill>
                <a:effectLst/>
                <a:uLnTx/>
                <a:uFillTx/>
                <a:latin typeface="Aptos"/>
                <a:ea typeface="Aptos"/>
                <a:cs typeface="+mn-cs"/>
              </a:rPr>
            </a:br>
            <a:r>
              <a:rPr kumimoji="0" lang="en-US" sz="1200" b="0" i="0" u="none" strike="noStrike" cap="none" normalizeH="0" baseline="0" noProof="0">
                <a:ln>
                  <a:noFill/>
                </a:ln>
                <a:solidFill>
                  <a:prstClr val="black"/>
                </a:solidFill>
                <a:effectLst/>
                <a:uLnTx/>
                <a:uFillTx/>
                <a:latin typeface="Aptos"/>
                <a:ea typeface="Aptos"/>
                <a:cs typeface="+mn-cs"/>
              </a:rPr>
              <a:t>Porsche, Mercedes-Benz, MAN</a:t>
            </a:r>
          </a:p>
          <a:p>
            <a:pPr marL="215900" marR="0" lvl="1" indent="-215900" algn="l" defTabSz="914400" rtl="0" eaLnBrk="1" fontAlgn="auto" latinLnBrk="0" hangingPunct="1">
              <a:lnSpc>
                <a:spcPct val="100000"/>
              </a:lnSpc>
              <a:spcBef>
                <a:spcPts val="0"/>
              </a:spcBef>
              <a:spcAft>
                <a:spcPts val="400"/>
              </a:spcAft>
              <a:buClr>
                <a:srgbClr val="A01441"/>
              </a:buClr>
              <a:buSzTx/>
              <a:buFont typeface="Arial" panose="020B0604020202020204" pitchFamily="34" charset="0"/>
              <a:buChar char="•"/>
              <a:tabLst/>
              <a:defRPr/>
            </a:pPr>
            <a:r>
              <a:rPr kumimoji="0" lang="en-US" sz="1200" b="0" i="0" u="none" strike="noStrike" cap="none" normalizeH="0" baseline="0" noProof="0">
                <a:ln>
                  <a:noFill/>
                </a:ln>
                <a:solidFill>
                  <a:srgbClr val="131313"/>
                </a:solidFill>
                <a:effectLst/>
                <a:uLnTx/>
                <a:uFillTx/>
                <a:latin typeface="Aptos"/>
                <a:ea typeface="Aptos"/>
                <a:cs typeface="+mn-cs"/>
              </a:rPr>
              <a:t>msg.ZenTestAI is already being used at msg in many business units and in customer projects to enhance software quality and speed up testing procedures</a:t>
            </a:r>
          </a:p>
        </p:txBody>
      </p:sp>
      <p:grpSp>
        <p:nvGrpSpPr>
          <p:cNvPr id="2" name="Gruppieren 1">
            <a:extLst>
              <a:ext uri="{FF2B5EF4-FFF2-40B4-BE49-F238E27FC236}">
                <a16:creationId xmlns:a16="http://schemas.microsoft.com/office/drawing/2014/main" id="{FE85F039-7F43-BCF6-A459-6ED6E870C9DD}"/>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1B9DDB02-C18A-5E53-535A-482D44DE11D3}"/>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23" name="Grafik 22">
              <a:extLst>
                <a:ext uri="{FF2B5EF4-FFF2-40B4-BE49-F238E27FC236}">
                  <a16:creationId xmlns:a16="http://schemas.microsoft.com/office/drawing/2014/main" id="{77C7ED1F-095F-007B-22F1-4CD898911A58}"/>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FCC58B50-BBA0-95EA-8765-94066382C872}"/>
              </a:ext>
            </a:extLst>
          </p:cNvPr>
          <p:cNvGrpSpPr/>
          <p:nvPr/>
        </p:nvGrpSpPr>
        <p:grpSpPr>
          <a:xfrm>
            <a:off x="8760781" y="3962652"/>
            <a:ext cx="703694" cy="703694"/>
            <a:chOff x="8575325" y="4111833"/>
            <a:chExt cx="869145" cy="869145"/>
          </a:xfrm>
        </p:grpSpPr>
        <p:sp>
          <p:nvSpPr>
            <p:cNvPr id="27" name="Kreis: nicht ausgefüllt 26">
              <a:extLst>
                <a:ext uri="{FF2B5EF4-FFF2-40B4-BE49-F238E27FC236}">
                  <a16:creationId xmlns:a16="http://schemas.microsoft.com/office/drawing/2014/main" id="{183F3CC4-EE9D-1BC8-D6B2-9856F34716E5}"/>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29" name="Grafik 28">
              <a:extLst>
                <a:ext uri="{FF2B5EF4-FFF2-40B4-BE49-F238E27FC236}">
                  <a16:creationId xmlns:a16="http://schemas.microsoft.com/office/drawing/2014/main" id="{1DF64008-E182-A007-7C69-099CD45628B8}"/>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73CC56E8-EB78-F887-A1BD-981B525B023A}"/>
              </a:ext>
            </a:extLst>
          </p:cNvPr>
          <p:cNvGrpSpPr/>
          <p:nvPr/>
        </p:nvGrpSpPr>
        <p:grpSpPr>
          <a:xfrm>
            <a:off x="4138804" y="3962652"/>
            <a:ext cx="703694" cy="703694"/>
            <a:chOff x="3460071" y="4111833"/>
            <a:chExt cx="869145" cy="869145"/>
          </a:xfrm>
        </p:grpSpPr>
        <p:sp>
          <p:nvSpPr>
            <p:cNvPr id="32" name="Kreis: nicht ausgefüllt 31">
              <a:extLst>
                <a:ext uri="{FF2B5EF4-FFF2-40B4-BE49-F238E27FC236}">
                  <a16:creationId xmlns:a16="http://schemas.microsoft.com/office/drawing/2014/main" id="{F8C2E6AD-73E0-105E-9B08-8F44ACA37EE1}"/>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33" name="Grafik 32">
              <a:extLst>
                <a:ext uri="{FF2B5EF4-FFF2-40B4-BE49-F238E27FC236}">
                  <a16:creationId xmlns:a16="http://schemas.microsoft.com/office/drawing/2014/main" id="{A310229D-564C-52B3-1116-29F1D56609AA}"/>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55C961FD-9BF6-E712-FF5A-6334F73B1C56}"/>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1421D06D-E2FE-1C24-92FD-D6D2243964B2}"/>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prstClr val="white"/>
                </a:solidFill>
                <a:effectLst/>
                <a:uLnTx/>
                <a:uFillTx/>
                <a:latin typeface="Aptos"/>
                <a:ea typeface="+mn-ea"/>
                <a:cs typeface="+mn-cs"/>
              </a:endParaRPr>
            </a:p>
          </p:txBody>
        </p:sp>
        <p:pic>
          <p:nvPicPr>
            <p:cNvPr id="36" name="Grafik 35">
              <a:extLst>
                <a:ext uri="{FF2B5EF4-FFF2-40B4-BE49-F238E27FC236}">
                  <a16:creationId xmlns:a16="http://schemas.microsoft.com/office/drawing/2014/main" id="{A663EB6A-6BDE-FA00-D950-C3E855B1671C}"/>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7493685" y="1797686"/>
              <a:ext cx="809625" cy="809625"/>
            </a:xfrm>
            <a:prstGeom prst="rect">
              <a:avLst/>
            </a:prstGeom>
          </p:spPr>
        </p:pic>
      </p:grpSp>
      <p:pic>
        <p:nvPicPr>
          <p:cNvPr id="7" name="Picture 6">
            <a:extLst>
              <a:ext uri="{FF2B5EF4-FFF2-40B4-BE49-F238E27FC236}">
                <a16:creationId xmlns:a16="http://schemas.microsoft.com/office/drawing/2014/main" id="{CCC48615-0EE1-3CC2-DD0F-DD2E2906DAEB}"/>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10003577" y="2241550"/>
            <a:ext cx="1864949" cy="326489"/>
          </a:xfrm>
          <a:prstGeom prst="rect">
            <a:avLst/>
          </a:prstGeom>
        </p:spPr>
      </p:pic>
      <p:cxnSp>
        <p:nvCxnSpPr>
          <p:cNvPr id="6" name="Gerader Verbinder 19">
            <a:extLst>
              <a:ext uri="{FF2B5EF4-FFF2-40B4-BE49-F238E27FC236}">
                <a16:creationId xmlns:a16="http://schemas.microsoft.com/office/drawing/2014/main" id="{01E40D47-631F-398A-BE57-11BC963B7772}"/>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649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694A1D-F91B-27B6-604A-C321048E2279}"/>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3138E04-06E6-4339-AA1A-B15E5E3D4EA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3" imgW="7772400" imgH="10058400" progId="TCLayout.ActiveDocument.1">
                  <p:embed/>
                </p:oleObj>
              </mc:Choice>
              <mc:Fallback>
                <p:oleObj name="think-cell Folie" r:id="rId13" imgW="7772400" imgH="10058400" progId="TCLayout.ActiveDocument.1">
                  <p:embed/>
                  <p:pic>
                    <p:nvPicPr>
                      <p:cNvPr id="11" name="think-cell data - do not delete" hidden="1">
                        <a:extLst>
                          <a:ext uri="{FF2B5EF4-FFF2-40B4-BE49-F238E27FC236}">
                            <a16:creationId xmlns:a16="http://schemas.microsoft.com/office/drawing/2014/main" id="{63138E04-06E6-4339-AA1A-B15E5E3D4EAC}"/>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8" name="Rechteck: diagonal liegende Ecken abgerundet 7">
            <a:extLst>
              <a:ext uri="{FF2B5EF4-FFF2-40B4-BE49-F238E27FC236}">
                <a16:creationId xmlns:a16="http://schemas.microsoft.com/office/drawing/2014/main" id="{CC8F44EB-B394-A24A-D839-3B0E739A1152}"/>
              </a:ext>
            </a:extLst>
          </p:cNvPr>
          <p:cNvSpPr/>
          <p:nvPr/>
        </p:nvSpPr>
        <p:spPr>
          <a:xfrm>
            <a:off x="9671370" y="1781092"/>
            <a:ext cx="2685600" cy="4311733"/>
          </a:xfrm>
          <a:prstGeom prst="round2DiagRect">
            <a:avLst>
              <a:gd name="adj1" fmla="val 0"/>
              <a:gd name="adj2" fmla="val 4143"/>
            </a:avLst>
          </a:prstGeom>
          <a:blipFill>
            <a:blip r:embed="rId15"/>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a:ea typeface="+mn-lt"/>
                <a:cs typeface="+mn-lt"/>
              </a:rPr>
              <a:t>Contact Person</a:t>
            </a:r>
          </a:p>
          <a:p>
            <a:endParaRPr lang="de-DE" sz="1200">
              <a:ea typeface="+mn-lt"/>
              <a:cs typeface="+mn-lt"/>
            </a:endParaRPr>
          </a:p>
          <a:p>
            <a:r>
              <a:rPr lang="en-US" sz="1200">
                <a:ea typeface="+mn-lt"/>
                <a:cs typeface="+mn-lt"/>
              </a:rPr>
              <a:t>Alexander Martin-Boes</a:t>
            </a:r>
          </a:p>
          <a:p>
            <a:r>
              <a:rPr lang="en-US" sz="1200">
                <a:ea typeface="+mn-lt"/>
                <a:cs typeface="+mn-lt"/>
              </a:rPr>
              <a:t>+49 151 2300 1897</a:t>
            </a:r>
          </a:p>
          <a:p>
            <a:r>
              <a:rPr lang="en-US" sz="1200">
                <a:ea typeface="+mn-lt"/>
                <a:cs typeface="+mn-lt"/>
              </a:rPr>
              <a:t>alexander.martin-boes@lpp.eu</a:t>
            </a:r>
          </a:p>
          <a:p>
            <a:endParaRPr lang="de-DE" sz="1200">
              <a:ea typeface="+mn-lt"/>
              <a:cs typeface="+mn-lt"/>
            </a:endParaRPr>
          </a:p>
          <a:p>
            <a:r>
              <a:rPr lang="en-US" sz="1200">
                <a:ea typeface="+mn-lt"/>
                <a:cs typeface="+mn-lt"/>
              </a:rPr>
              <a:t>Dr. Ralph Altenburger</a:t>
            </a:r>
          </a:p>
          <a:p>
            <a:r>
              <a:rPr lang="en-US" sz="1200">
                <a:ea typeface="+mn-lt"/>
                <a:cs typeface="+mn-lt"/>
              </a:rPr>
              <a:t>+49 176 456 99106</a:t>
            </a:r>
          </a:p>
          <a:p>
            <a:r>
              <a:rPr lang="en-US" sz="1200">
                <a:ea typeface="+mn-lt"/>
                <a:cs typeface="+mn-lt"/>
              </a:rPr>
              <a:t>ralph.altenburger@lpp.eu</a:t>
            </a:r>
          </a:p>
          <a:p>
            <a:endParaRPr lang="de-DE" sz="1200">
              <a:ea typeface="+mn-lt"/>
              <a:cs typeface="+mn-lt"/>
            </a:endParaRPr>
          </a:p>
          <a:p>
            <a:endParaRPr lang="de-DE"/>
          </a:p>
        </p:txBody>
      </p:sp>
      <p:sp>
        <p:nvSpPr>
          <p:cNvPr id="10" name="Titel 11">
            <a:extLst>
              <a:ext uri="{FF2B5EF4-FFF2-40B4-BE49-F238E27FC236}">
                <a16:creationId xmlns:a16="http://schemas.microsoft.com/office/drawing/2014/main" id="{6ECD06E5-1B68-FD6A-4822-BE368F969FE2}"/>
              </a:ext>
            </a:extLst>
          </p:cNvPr>
          <p:cNvSpPr txBox="1">
            <a:spLocks/>
          </p:cNvSpPr>
          <p:nvPr>
            <p:custDataLst>
              <p:tags r:id="rId2"/>
            </p:custDataLst>
          </p:nvPr>
        </p:nvSpPr>
        <p:spPr bwMode="gray">
          <a:xfrm>
            <a:off x="9989004" y="2110176"/>
            <a:ext cx="1856632"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12" name="Titel 5">
            <a:extLst>
              <a:ext uri="{FF2B5EF4-FFF2-40B4-BE49-F238E27FC236}">
                <a16:creationId xmlns:a16="http://schemas.microsoft.com/office/drawing/2014/main" id="{C19D1AA0-0D68-9625-DD6D-E9B6A8CFF0E0}"/>
              </a:ext>
            </a:extLst>
          </p:cNvPr>
          <p:cNvSpPr>
            <a:spLocks noGrp="1"/>
          </p:cNvSpPr>
          <p:nvPr>
            <p:ph type="title"/>
          </p:nvPr>
        </p:nvSpPr>
        <p:spPr>
          <a:xfrm>
            <a:off x="649008" y="620713"/>
            <a:ext cx="9807031" cy="738664"/>
          </a:xfrm>
        </p:spPr>
        <p:txBody>
          <a:bodyPr vert="horz"/>
          <a:lstStyle/>
          <a:p>
            <a:r>
              <a:rPr lang="en-US"/>
              <a:t>We provide an innovative solution for</a:t>
            </a:r>
            <a:br>
              <a:rPr lang="en-US"/>
            </a:br>
            <a:r>
              <a:rPr lang="en-US" b="1">
                <a:ea typeface="+mn-lt"/>
                <a:cs typeface="+mn-lt"/>
              </a:rPr>
              <a:t>every kind of portfolio challenge  </a:t>
            </a:r>
          </a:p>
        </p:txBody>
      </p:sp>
      <p:sp>
        <p:nvSpPr>
          <p:cNvPr id="14" name="Fußzeilenplatzhalter 1">
            <a:extLst>
              <a:ext uri="{FF2B5EF4-FFF2-40B4-BE49-F238E27FC236}">
                <a16:creationId xmlns:a16="http://schemas.microsoft.com/office/drawing/2014/main" id="{01F581C4-B650-9ACF-86B4-AED24E995174}"/>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3A0B1C78-98E4-3811-438F-12B763CA1CD4}"/>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6</a:t>
            </a:fld>
            <a:endParaRPr lang="de-DE"/>
          </a:p>
        </p:txBody>
      </p:sp>
      <p:sp>
        <p:nvSpPr>
          <p:cNvPr id="24" name="Textfeld 23">
            <a:extLst>
              <a:ext uri="{FF2B5EF4-FFF2-40B4-BE49-F238E27FC236}">
                <a16:creationId xmlns:a16="http://schemas.microsoft.com/office/drawing/2014/main" id="{594B513F-4AE3-7379-8C3D-257789ABF931}"/>
              </a:ext>
            </a:extLst>
          </p:cNvPr>
          <p:cNvSpPr txBox="1"/>
          <p:nvPr>
            <p:custDataLst>
              <p:tags r:id="rId3"/>
            </p:custDataLst>
          </p:nvPr>
        </p:nvSpPr>
        <p:spPr>
          <a:xfrm>
            <a:off x="653194" y="1752919"/>
            <a:ext cx="4336334"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en-US" sz="1400" b="1" dirty="0"/>
              <a:t>Your Challenge</a:t>
            </a:r>
          </a:p>
          <a:p>
            <a:pPr marL="215900" lvl="1" indent="-215900">
              <a:lnSpc>
                <a:spcPct val="95000"/>
              </a:lnSpc>
              <a:spcAft>
                <a:spcPts val="300"/>
              </a:spcAft>
            </a:pPr>
            <a:r>
              <a:rPr lang="en-US" sz="1200" dirty="0"/>
              <a:t>Obstacles to digital transformation or </a:t>
            </a:r>
            <a:br>
              <a:rPr lang="en-US" sz="1200" dirty="0"/>
            </a:br>
            <a:r>
              <a:rPr lang="en-US" sz="1200" dirty="0"/>
              <a:t>replacement caused by legacy IT systems:</a:t>
            </a:r>
          </a:p>
          <a:p>
            <a:pPr marL="363220" lvl="2" indent="-134620">
              <a:lnSpc>
                <a:spcPct val="95000"/>
              </a:lnSpc>
              <a:spcAft>
                <a:spcPts val="300"/>
              </a:spcAft>
              <a:buClr>
                <a:srgbClr val="A01441"/>
              </a:buClr>
            </a:pPr>
            <a:r>
              <a:rPr lang="en-US" sz="1200" dirty="0"/>
              <a:t>High and increasing unit costs alongside </a:t>
            </a:r>
            <a:br>
              <a:rPr lang="en-US" sz="1200" dirty="0"/>
            </a:br>
            <a:r>
              <a:rPr lang="en-US" sz="1200" dirty="0"/>
              <a:t>a decline in volume</a:t>
            </a:r>
          </a:p>
          <a:p>
            <a:pPr marL="363220" lvl="2" indent="-134620">
              <a:lnSpc>
                <a:spcPct val="95000"/>
              </a:lnSpc>
              <a:spcAft>
                <a:spcPts val="300"/>
              </a:spcAft>
              <a:buClr>
                <a:srgbClr val="A01441"/>
              </a:buClr>
            </a:pPr>
            <a:r>
              <a:rPr lang="en-US" sz="1200" dirty="0"/>
              <a:t>Older product and tariff generations hinder innovation</a:t>
            </a:r>
          </a:p>
          <a:p>
            <a:pPr marL="363220" lvl="2" indent="-134620">
              <a:lnSpc>
                <a:spcPct val="95000"/>
              </a:lnSpc>
              <a:spcAft>
                <a:spcPts val="300"/>
              </a:spcAft>
              <a:buClr>
                <a:srgbClr val="A01441"/>
              </a:buClr>
            </a:pPr>
            <a:r>
              <a:rPr lang="en-US" sz="1200" dirty="0"/>
              <a:t>Change in product or business strategy</a:t>
            </a:r>
          </a:p>
          <a:p>
            <a:pPr marL="363220" lvl="2" indent="-134620">
              <a:lnSpc>
                <a:spcPct val="95000"/>
              </a:lnSpc>
              <a:spcAft>
                <a:spcPts val="300"/>
              </a:spcAft>
              <a:buClr>
                <a:srgbClr val="A01441"/>
              </a:buClr>
            </a:pPr>
            <a:r>
              <a:rPr lang="en-US" sz="1200" dirty="0"/>
              <a:t>M&amp;A: portfolios that do not align with the strategic objective</a:t>
            </a:r>
          </a:p>
          <a:p>
            <a:pPr marL="215900" lvl="1" indent="-215900">
              <a:lnSpc>
                <a:spcPct val="95000"/>
              </a:lnSpc>
              <a:spcAft>
                <a:spcPts val="300"/>
              </a:spcAft>
              <a:buClr>
                <a:srgbClr val="A01441"/>
              </a:buClr>
            </a:pPr>
            <a:r>
              <a:rPr lang="en-US" sz="1200" dirty="0"/>
              <a:t>Alternative solutions like selling, terminating, or investing come with considerable drawbacks and ought to be dismissed</a:t>
            </a:r>
          </a:p>
          <a:p>
            <a:pPr>
              <a:lnSpc>
                <a:spcPct val="95000"/>
              </a:lnSpc>
              <a:spcAft>
                <a:spcPts val="300"/>
              </a:spcAft>
            </a:pPr>
            <a:endParaRPr lang="de-DE" sz="1400" dirty="0"/>
          </a:p>
        </p:txBody>
      </p:sp>
      <p:sp>
        <p:nvSpPr>
          <p:cNvPr id="28" name="Textfeld 27">
            <a:extLst>
              <a:ext uri="{FF2B5EF4-FFF2-40B4-BE49-F238E27FC236}">
                <a16:creationId xmlns:a16="http://schemas.microsoft.com/office/drawing/2014/main" id="{5D0556BD-9D90-CC7A-B59F-20FF651B6F91}"/>
              </a:ext>
            </a:extLst>
          </p:cNvPr>
          <p:cNvSpPr txBox="1"/>
          <p:nvPr>
            <p:custDataLst>
              <p:tags r:id="rId4"/>
            </p:custDataLst>
          </p:nvPr>
        </p:nvSpPr>
        <p:spPr>
          <a:xfrm>
            <a:off x="653195" y="4095595"/>
            <a:ext cx="4457843" cy="2236873"/>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en-US" sz="1400" b="1" dirty="0"/>
              <a:t>Our Offering</a:t>
            </a:r>
            <a:r>
              <a:rPr lang="en-US" sz="1200" dirty="0"/>
              <a:t> </a:t>
            </a:r>
          </a:p>
          <a:p>
            <a:pPr marL="215900" lvl="1" indent="-215900">
              <a:lnSpc>
                <a:spcPct val="95000"/>
              </a:lnSpc>
              <a:spcAft>
                <a:spcPts val="300"/>
              </a:spcAft>
            </a:pPr>
            <a:r>
              <a:rPr lang="en-US" sz="1200" dirty="0"/>
              <a:t>LPP integrates portfolio management with </a:t>
            </a:r>
            <a:br>
              <a:rPr lang="en-US" sz="1200" dirty="0"/>
            </a:br>
            <a:r>
              <a:rPr lang="en-US" sz="1200" dirty="0"/>
              <a:t>reinsurance, eliminating legal portfolio transfer</a:t>
            </a:r>
          </a:p>
          <a:p>
            <a:pPr marL="215900" lvl="1" indent="-215900">
              <a:lnSpc>
                <a:spcPct val="95000"/>
              </a:lnSpc>
              <a:spcAft>
                <a:spcPts val="300"/>
              </a:spcAft>
            </a:pPr>
            <a:r>
              <a:rPr lang="en-US" sz="1200" dirty="0"/>
              <a:t>Operational solution: Migration to msg platform,</a:t>
            </a:r>
            <a:br>
              <a:rPr lang="en-US" sz="1200" dirty="0"/>
            </a:br>
            <a:r>
              <a:rPr lang="en-US" sz="1200" dirty="0"/>
              <a:t>managing the portfolio through LPP underwriters, which encompasses customer support, contract handling, and claims processing, transferring sales events</a:t>
            </a:r>
          </a:p>
          <a:p>
            <a:pPr marL="215900" lvl="1" indent="-215900">
              <a:lnSpc>
                <a:spcPct val="95000"/>
              </a:lnSpc>
              <a:spcAft>
                <a:spcPts val="300"/>
              </a:spcAft>
            </a:pPr>
            <a:r>
              <a:rPr lang="en-US" sz="1200" dirty="0"/>
              <a:t>Optional enhancement for a cost-effective solution: Multi-year quota share reinsurance contract aimed at economic relief and solution financing</a:t>
            </a:r>
            <a:br>
              <a:rPr lang="en-US" sz="1200" dirty="0"/>
            </a:br>
            <a:endParaRPr lang="en-US" sz="1200" dirty="0"/>
          </a:p>
        </p:txBody>
      </p:sp>
      <p:sp>
        <p:nvSpPr>
          <p:cNvPr id="30" name="Textfeld 29">
            <a:extLst>
              <a:ext uri="{FF2B5EF4-FFF2-40B4-BE49-F238E27FC236}">
                <a16:creationId xmlns:a16="http://schemas.microsoft.com/office/drawing/2014/main" id="{6F994C87-E505-17C8-71C0-6603669E93E7}"/>
              </a:ext>
            </a:extLst>
          </p:cNvPr>
          <p:cNvSpPr txBox="1"/>
          <p:nvPr>
            <p:custDataLst>
              <p:tags r:id="rId5"/>
            </p:custDataLst>
          </p:nvPr>
        </p:nvSpPr>
        <p:spPr>
          <a:xfrm>
            <a:off x="5227129" y="4095595"/>
            <a:ext cx="4238105"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en-US" dirty="0"/>
              <a:t>Our Partners and References</a:t>
            </a:r>
          </a:p>
          <a:p>
            <a:pPr marL="215900" lvl="1" indent="-215900">
              <a:lnSpc>
                <a:spcPct val="95000"/>
              </a:lnSpc>
              <a:spcAft>
                <a:spcPts val="300"/>
              </a:spcAft>
            </a:pPr>
            <a:r>
              <a:rPr lang="en-US" sz="1200" dirty="0"/>
              <a:t>Use of the msg insurance platform solution</a:t>
            </a:r>
            <a:br>
              <a:rPr lang="en-US" sz="1200" dirty="0"/>
            </a:br>
            <a:r>
              <a:rPr lang="en-US" sz="1200" dirty="0"/>
              <a:t>and implementation and migration expertise</a:t>
            </a:r>
          </a:p>
          <a:p>
            <a:pPr marL="215900" lvl="1" indent="-215900">
              <a:lnSpc>
                <a:spcPct val="95000"/>
              </a:lnSpc>
              <a:spcAft>
                <a:spcPts val="300"/>
              </a:spcAft>
            </a:pPr>
            <a:r>
              <a:rPr lang="en-US" sz="1200" dirty="0"/>
              <a:t>Exclusive partnership with Swiss Re</a:t>
            </a:r>
          </a:p>
          <a:p>
            <a:pPr marL="215900" lvl="1" indent="-215900">
              <a:lnSpc>
                <a:spcPct val="95000"/>
              </a:lnSpc>
              <a:spcAft>
                <a:spcPts val="300"/>
              </a:spcAft>
            </a:pPr>
            <a:r>
              <a:rPr lang="en-US" sz="1200" dirty="0"/>
              <a:t>Selected customers:</a:t>
            </a:r>
          </a:p>
          <a:p>
            <a:pPr marL="363538" lvl="2" indent="-134938">
              <a:lnSpc>
                <a:spcPct val="95000"/>
              </a:lnSpc>
              <a:spcAft>
                <a:spcPts val="300"/>
              </a:spcAft>
              <a:buClr>
                <a:srgbClr val="A01441"/>
              </a:buClr>
            </a:pPr>
            <a:r>
              <a:rPr lang="en-US" sz="1200" spc="-20" dirty="0"/>
              <a:t>Composite insurers: All types of private insurance policies and APR portfolios (accident insurance with premium refund)</a:t>
            </a:r>
          </a:p>
          <a:p>
            <a:pPr marL="363538" lvl="2" indent="-134938">
              <a:lnSpc>
                <a:spcPct val="95000"/>
              </a:lnSpc>
              <a:spcAft>
                <a:spcPts val="300"/>
              </a:spcAft>
              <a:buClr>
                <a:srgbClr val="A01441"/>
              </a:buClr>
            </a:pPr>
            <a:r>
              <a:rPr lang="en-US" sz="1200" dirty="0"/>
              <a:t>Life insurers</a:t>
            </a:r>
          </a:p>
          <a:p>
            <a:pPr marL="363538" lvl="2" indent="-134938">
              <a:lnSpc>
                <a:spcPct val="95000"/>
              </a:lnSpc>
              <a:spcAft>
                <a:spcPts val="300"/>
              </a:spcAft>
              <a:buClr>
                <a:srgbClr val="A01441"/>
              </a:buClr>
            </a:pPr>
            <a:r>
              <a:rPr lang="en-US" sz="1200" dirty="0"/>
              <a:t>Captives</a:t>
            </a:r>
          </a:p>
          <a:p>
            <a:pPr marL="363538" lvl="2" indent="-134938">
              <a:lnSpc>
                <a:spcPct val="95000"/>
              </a:lnSpc>
              <a:spcAft>
                <a:spcPts val="300"/>
              </a:spcAft>
              <a:buClr>
                <a:srgbClr val="A01441"/>
              </a:buClr>
            </a:pPr>
            <a:r>
              <a:rPr lang="en-US" sz="1200" dirty="0"/>
              <a:t>OEMs with insurance business</a:t>
            </a:r>
          </a:p>
        </p:txBody>
      </p:sp>
      <p:cxnSp>
        <p:nvCxnSpPr>
          <p:cNvPr id="5" name="Gerader Verbinder 19">
            <a:extLst>
              <a:ext uri="{FF2B5EF4-FFF2-40B4-BE49-F238E27FC236}">
                <a16:creationId xmlns:a16="http://schemas.microsoft.com/office/drawing/2014/main" id="{CBF6C517-5ACD-BF13-47E9-6E66E531CD72}"/>
              </a:ext>
            </a:extLst>
          </p:cNvPr>
          <p:cNvCxnSpPr>
            <a:cxnSpLocks/>
          </p:cNvCxnSpPr>
          <p:nvPr/>
        </p:nvCxnSpPr>
        <p:spPr>
          <a:xfrm>
            <a:off x="51083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Picture 3" descr="Leading Portfolio Partners">
            <a:extLst>
              <a:ext uri="{FF2B5EF4-FFF2-40B4-BE49-F238E27FC236}">
                <a16:creationId xmlns:a16="http://schemas.microsoft.com/office/drawing/2014/main" id="{97BD7289-9068-BD01-B146-85B974273125}"/>
              </a:ext>
            </a:extLst>
          </p:cNvPr>
          <p:cNvPicPr>
            <a:picLocks noChangeAspect="1"/>
          </p:cNvPicPr>
          <p:nvPr/>
        </p:nvPicPr>
        <p:blipFill>
          <a:blip r:embed="rId16"/>
          <a:stretch>
            <a:fillRect/>
          </a:stretch>
        </p:blipFill>
        <p:spPr>
          <a:xfrm>
            <a:off x="10002859" y="2249942"/>
            <a:ext cx="1822629" cy="324050"/>
          </a:xfrm>
          <a:prstGeom prst="rect">
            <a:avLst/>
          </a:prstGeom>
        </p:spPr>
      </p:pic>
      <p:sp>
        <p:nvSpPr>
          <p:cNvPr id="42" name="Textfeld 41">
            <a:extLst>
              <a:ext uri="{FF2B5EF4-FFF2-40B4-BE49-F238E27FC236}">
                <a16:creationId xmlns:a16="http://schemas.microsoft.com/office/drawing/2014/main" id="{8BED0A0F-3397-375D-5C3B-42A49E5CCC6C}"/>
              </a:ext>
            </a:extLst>
          </p:cNvPr>
          <p:cNvSpPr txBox="1"/>
          <p:nvPr/>
        </p:nvSpPr>
        <p:spPr>
          <a:xfrm>
            <a:off x="9998838" y="2852402"/>
            <a:ext cx="1856631" cy="914400"/>
          </a:xfrm>
          <a:prstGeom prst="rect">
            <a:avLst/>
          </a:prstGeom>
          <a:noFill/>
        </p:spPr>
        <p:txBody>
          <a:bodyPr wrap="none" lIns="0" tIns="0" rIns="0" bIns="0" rtlCol="0">
            <a:noAutofit/>
          </a:bodyPr>
          <a:lstStyle/>
          <a:p>
            <a:pPr algn="l"/>
            <a:r>
              <a:rPr lang="en-US" sz="1100" b="1">
                <a:solidFill>
                  <a:schemeClr val="bg1"/>
                </a:solidFill>
              </a:rPr>
              <a:t>Mastering insurance portfolio </a:t>
            </a:r>
            <a:br>
              <a:rPr lang="en-US" sz="1100" b="1">
                <a:solidFill>
                  <a:schemeClr val="bg1"/>
                </a:solidFill>
              </a:rPr>
            </a:br>
            <a:r>
              <a:rPr lang="en-US" sz="1100" b="1">
                <a:solidFill>
                  <a:schemeClr val="bg1"/>
                </a:solidFill>
              </a:rPr>
              <a:t>challenges. Together.</a:t>
            </a:r>
          </a:p>
        </p:txBody>
      </p:sp>
      <p:sp>
        <p:nvSpPr>
          <p:cNvPr id="2" name="Textfeld 1">
            <a:extLst>
              <a:ext uri="{FF2B5EF4-FFF2-40B4-BE49-F238E27FC236}">
                <a16:creationId xmlns:a16="http://schemas.microsoft.com/office/drawing/2014/main" id="{9BFA0F7B-71D8-5D99-7F47-4A2795869EB1}"/>
              </a:ext>
            </a:extLst>
          </p:cNvPr>
          <p:cNvSpPr txBox="1"/>
          <p:nvPr>
            <p:custDataLst>
              <p:tags r:id="rId6"/>
            </p:custDataLst>
          </p:nvPr>
        </p:nvSpPr>
        <p:spPr>
          <a:xfrm>
            <a:off x="5227129" y="1752919"/>
            <a:ext cx="4238106"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sz="1400" b="1"/>
              <a:t>Ihr Nutzen</a:t>
            </a:r>
          </a:p>
          <a:p>
            <a:pPr marL="215900" lvl="1" indent="-215900">
              <a:lnSpc>
                <a:spcPct val="95000"/>
              </a:lnSpc>
              <a:spcAft>
                <a:spcPts val="300"/>
              </a:spcAft>
            </a:pPr>
            <a:r>
              <a:rPr lang="de-DE" sz="1200"/>
              <a:t>Nahezu vollständige operationelle und </a:t>
            </a:r>
            <a:br>
              <a:rPr lang="de-DE" sz="1200"/>
            </a:br>
            <a:r>
              <a:rPr lang="de-DE" sz="1200"/>
              <a:t>ökonomische Befreiung von einem </a:t>
            </a:r>
            <a:br>
              <a:rPr lang="de-DE" sz="1200"/>
            </a:br>
            <a:r>
              <a:rPr lang="de-DE" sz="1200"/>
              <a:t>Versicherungsbestand (Leben/Nicht-Leben), ohne Investitionskosten, Risiken, als Komplettlösung</a:t>
            </a:r>
          </a:p>
          <a:p>
            <a:pPr marL="215900" lvl="1" indent="-215900">
              <a:lnSpc>
                <a:spcPct val="95000"/>
              </a:lnSpc>
              <a:spcAft>
                <a:spcPts val="300"/>
              </a:spcAft>
            </a:pPr>
            <a:r>
              <a:rPr lang="de-DE" sz="1200"/>
              <a:t>Vermeidung der Nachteile bisheriger Lösungen, vollständige Neutralität, Kunde bleibt erhalten, kein Reputationsschaden</a:t>
            </a:r>
            <a:endParaRPr lang="de-DE" sz="1400"/>
          </a:p>
        </p:txBody>
      </p:sp>
      <p:sp>
        <p:nvSpPr>
          <p:cNvPr id="35" name="Textfeld 34">
            <a:extLst>
              <a:ext uri="{FF2B5EF4-FFF2-40B4-BE49-F238E27FC236}">
                <a16:creationId xmlns:a16="http://schemas.microsoft.com/office/drawing/2014/main" id="{60DC898E-9C66-0F1C-8050-A6C36AE41D74}"/>
              </a:ext>
            </a:extLst>
          </p:cNvPr>
          <p:cNvSpPr txBox="1"/>
          <p:nvPr>
            <p:custDataLst>
              <p:tags r:id="rId7"/>
            </p:custDataLst>
          </p:nvPr>
        </p:nvSpPr>
        <p:spPr>
          <a:xfrm>
            <a:off x="5227129" y="1752919"/>
            <a:ext cx="4238106"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de-DE" sz="1400" b="1"/>
              <a:t>Ihr Nutzen</a:t>
            </a:r>
          </a:p>
          <a:p>
            <a:pPr marL="215900" lvl="1" indent="-215900">
              <a:lnSpc>
                <a:spcPct val="95000"/>
              </a:lnSpc>
              <a:spcAft>
                <a:spcPts val="300"/>
              </a:spcAft>
            </a:pPr>
            <a:r>
              <a:rPr lang="de-DE" sz="1200"/>
              <a:t>Nahezu vollständige operationelle und </a:t>
            </a:r>
            <a:br>
              <a:rPr lang="de-DE" sz="1200"/>
            </a:br>
            <a:r>
              <a:rPr lang="de-DE" sz="1200"/>
              <a:t>ökonomische Befreiung von einem </a:t>
            </a:r>
            <a:br>
              <a:rPr lang="de-DE" sz="1200"/>
            </a:br>
            <a:r>
              <a:rPr lang="de-DE" sz="1200"/>
              <a:t>Versicherungsbestand (Leben/Nicht-Leben), ohne Investitionskosten, Risiken, als Komplettlösung</a:t>
            </a:r>
          </a:p>
          <a:p>
            <a:pPr marL="215900" lvl="1" indent="-215900">
              <a:lnSpc>
                <a:spcPct val="95000"/>
              </a:lnSpc>
              <a:spcAft>
                <a:spcPts val="300"/>
              </a:spcAft>
            </a:pPr>
            <a:r>
              <a:rPr lang="de-DE" sz="1200"/>
              <a:t>Vermeidung der Nachteile bisheriger Lösungen, vollständige Neutralität, Kunde bleibt erhalten, kein Reputationsschaden</a:t>
            </a:r>
            <a:endParaRPr lang="de-DE" sz="1400"/>
          </a:p>
        </p:txBody>
      </p:sp>
      <p:grpSp>
        <p:nvGrpSpPr>
          <p:cNvPr id="37" name="Gruppieren 36">
            <a:extLst>
              <a:ext uri="{FF2B5EF4-FFF2-40B4-BE49-F238E27FC236}">
                <a16:creationId xmlns:a16="http://schemas.microsoft.com/office/drawing/2014/main" id="{8C4EA7D4-9516-417A-0123-79621E28B3F1}"/>
              </a:ext>
            </a:extLst>
          </p:cNvPr>
          <p:cNvGrpSpPr/>
          <p:nvPr/>
        </p:nvGrpSpPr>
        <p:grpSpPr>
          <a:xfrm>
            <a:off x="4215007" y="1771450"/>
            <a:ext cx="703694" cy="703694"/>
            <a:chOff x="3460071" y="1779904"/>
            <a:chExt cx="869145" cy="869145"/>
          </a:xfrm>
        </p:grpSpPr>
        <p:sp>
          <p:nvSpPr>
            <p:cNvPr id="43" name="Kreis: nicht ausgefüllt 42">
              <a:extLst>
                <a:ext uri="{FF2B5EF4-FFF2-40B4-BE49-F238E27FC236}">
                  <a16:creationId xmlns:a16="http://schemas.microsoft.com/office/drawing/2014/main" id="{95C057EB-5EBA-C18B-A418-B4EB3F8C63B6}"/>
                </a:ext>
              </a:extLst>
            </p:cNvPr>
            <p:cNvSpPr/>
            <p:nvPr>
              <p:custDataLst>
                <p:tags r:id="rId11"/>
              </p:custDataLst>
            </p:nvPr>
          </p:nvSpPr>
          <p:spPr>
            <a:xfrm>
              <a:off x="3460071" y="1779904"/>
              <a:ext cx="869145" cy="869145"/>
            </a:xfrm>
            <a:prstGeom prst="donut">
              <a:avLst>
                <a:gd name="adj" fmla="val 5998"/>
              </a:avLst>
            </a:prstGeom>
            <a:blipFill>
              <a:blip r:embed="rId15"/>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4" name="Grafik 43">
              <a:extLst>
                <a:ext uri="{FF2B5EF4-FFF2-40B4-BE49-F238E27FC236}">
                  <a16:creationId xmlns:a16="http://schemas.microsoft.com/office/drawing/2014/main" id="{C0ECA7E6-561D-732B-5609-BFD0A2D36A22}"/>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3496632" y="1796942"/>
              <a:ext cx="809625" cy="809625"/>
            </a:xfrm>
            <a:prstGeom prst="rect">
              <a:avLst/>
            </a:prstGeom>
          </p:spPr>
        </p:pic>
      </p:grpSp>
      <p:grpSp>
        <p:nvGrpSpPr>
          <p:cNvPr id="45" name="Gruppieren 44">
            <a:extLst>
              <a:ext uri="{FF2B5EF4-FFF2-40B4-BE49-F238E27FC236}">
                <a16:creationId xmlns:a16="http://schemas.microsoft.com/office/drawing/2014/main" id="{95136E82-7974-F517-C1F2-A8CC0E9E76F6}"/>
              </a:ext>
            </a:extLst>
          </p:cNvPr>
          <p:cNvGrpSpPr/>
          <p:nvPr/>
        </p:nvGrpSpPr>
        <p:grpSpPr>
          <a:xfrm>
            <a:off x="8761542" y="4086986"/>
            <a:ext cx="703694" cy="703694"/>
            <a:chOff x="8575325" y="4111833"/>
            <a:chExt cx="869145" cy="869145"/>
          </a:xfrm>
        </p:grpSpPr>
        <p:sp>
          <p:nvSpPr>
            <p:cNvPr id="46" name="Kreis: nicht ausgefüllt 45">
              <a:extLst>
                <a:ext uri="{FF2B5EF4-FFF2-40B4-BE49-F238E27FC236}">
                  <a16:creationId xmlns:a16="http://schemas.microsoft.com/office/drawing/2014/main" id="{96C1B13C-989D-DA08-87E4-F619517AC51C}"/>
                </a:ext>
              </a:extLst>
            </p:cNvPr>
            <p:cNvSpPr/>
            <p:nvPr>
              <p:custDataLst>
                <p:tags r:id="rId10"/>
              </p:custDataLst>
            </p:nvPr>
          </p:nvSpPr>
          <p:spPr>
            <a:xfrm>
              <a:off x="8575325" y="4111833"/>
              <a:ext cx="869145" cy="869145"/>
            </a:xfrm>
            <a:prstGeom prst="donut">
              <a:avLst>
                <a:gd name="adj" fmla="val 5998"/>
              </a:avLst>
            </a:prstGeom>
            <a:blipFill>
              <a:blip r:embed="rId15"/>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7" name="Grafik 46">
              <a:extLst>
                <a:ext uri="{FF2B5EF4-FFF2-40B4-BE49-F238E27FC236}">
                  <a16:creationId xmlns:a16="http://schemas.microsoft.com/office/drawing/2014/main" id="{8188AAF3-03BB-BB67-CBD1-A3B272425FB6}"/>
                </a:ext>
              </a:extLst>
            </p:cNvPr>
            <p:cNvPicPr>
              <a:picLocks noChangeAspect="1"/>
            </p:cNvPicPr>
            <p:nvPr/>
          </p:nvPicPr>
          <p:blipFill>
            <a:blip>
              <a:extLst>
                <a:ext uri="{96DAC541-7B7A-43D3-8B79-37D633B846F1}">
                  <asvg:svgBlip xmlns:asvg="http://schemas.microsoft.com/office/drawing/2016/SVG/main" r:embed="rId18"/>
                </a:ext>
              </a:extLst>
            </a:blip>
            <a:stretch>
              <a:fillRect/>
            </a:stretch>
          </p:blipFill>
          <p:spPr>
            <a:xfrm>
              <a:off x="8608010" y="4171353"/>
              <a:ext cx="809625" cy="809625"/>
            </a:xfrm>
            <a:prstGeom prst="rect">
              <a:avLst/>
            </a:prstGeom>
          </p:spPr>
        </p:pic>
      </p:grpSp>
      <p:grpSp>
        <p:nvGrpSpPr>
          <p:cNvPr id="48" name="Gruppieren 47">
            <a:extLst>
              <a:ext uri="{FF2B5EF4-FFF2-40B4-BE49-F238E27FC236}">
                <a16:creationId xmlns:a16="http://schemas.microsoft.com/office/drawing/2014/main" id="{9B1E2654-B27A-9853-FE95-8E014EFF1FC5}"/>
              </a:ext>
            </a:extLst>
          </p:cNvPr>
          <p:cNvGrpSpPr/>
          <p:nvPr/>
        </p:nvGrpSpPr>
        <p:grpSpPr>
          <a:xfrm>
            <a:off x="4215007" y="4086986"/>
            <a:ext cx="703694" cy="703694"/>
            <a:chOff x="3460071" y="4111833"/>
            <a:chExt cx="869145" cy="869145"/>
          </a:xfrm>
        </p:grpSpPr>
        <p:sp>
          <p:nvSpPr>
            <p:cNvPr id="49" name="Kreis: nicht ausgefüllt 48">
              <a:extLst>
                <a:ext uri="{FF2B5EF4-FFF2-40B4-BE49-F238E27FC236}">
                  <a16:creationId xmlns:a16="http://schemas.microsoft.com/office/drawing/2014/main" id="{76523BC2-7191-74D3-E922-42207EF88BEE}"/>
                </a:ext>
              </a:extLst>
            </p:cNvPr>
            <p:cNvSpPr/>
            <p:nvPr>
              <p:custDataLst>
                <p:tags r:id="rId9"/>
              </p:custDataLst>
            </p:nvPr>
          </p:nvSpPr>
          <p:spPr>
            <a:xfrm>
              <a:off x="3460071" y="4111833"/>
              <a:ext cx="869145" cy="869145"/>
            </a:xfrm>
            <a:prstGeom prst="donut">
              <a:avLst>
                <a:gd name="adj" fmla="val 5998"/>
              </a:avLst>
            </a:prstGeom>
            <a:blipFill>
              <a:blip r:embed="rId15"/>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50" name="Grafik 49">
              <a:extLst>
                <a:ext uri="{FF2B5EF4-FFF2-40B4-BE49-F238E27FC236}">
                  <a16:creationId xmlns:a16="http://schemas.microsoft.com/office/drawing/2014/main" id="{FFAE753D-E1E1-11B2-29EF-0812E0732173}"/>
                </a:ext>
              </a:extLst>
            </p:cNvPr>
            <p:cNvPicPr>
              <a:picLocks noChangeAspect="1"/>
            </p:cNvPicPr>
            <p:nvPr/>
          </p:nvPicPr>
          <p:blipFill>
            <a:blip>
              <a:extLst>
                <a:ext uri="{96DAC541-7B7A-43D3-8B79-37D633B846F1}">
                  <asvg:svgBlip xmlns:asvg="http://schemas.microsoft.com/office/drawing/2016/SVG/main" r:embed="rId19"/>
                </a:ext>
              </a:extLst>
            </a:blip>
            <a:stretch>
              <a:fillRect/>
            </a:stretch>
          </p:blipFill>
          <p:spPr>
            <a:xfrm>
              <a:off x="3489830" y="4141593"/>
              <a:ext cx="809625" cy="809625"/>
            </a:xfrm>
            <a:prstGeom prst="rect">
              <a:avLst/>
            </a:prstGeom>
          </p:spPr>
        </p:pic>
      </p:grpSp>
      <p:grpSp>
        <p:nvGrpSpPr>
          <p:cNvPr id="51" name="Gruppieren 50">
            <a:extLst>
              <a:ext uri="{FF2B5EF4-FFF2-40B4-BE49-F238E27FC236}">
                <a16:creationId xmlns:a16="http://schemas.microsoft.com/office/drawing/2014/main" id="{07693905-F1BF-19AD-B3F4-F630FB113C1F}"/>
              </a:ext>
            </a:extLst>
          </p:cNvPr>
          <p:cNvGrpSpPr/>
          <p:nvPr/>
        </p:nvGrpSpPr>
        <p:grpSpPr>
          <a:xfrm>
            <a:off x="8761541" y="1771450"/>
            <a:ext cx="703694" cy="703694"/>
            <a:chOff x="7459565" y="1779904"/>
            <a:chExt cx="869145" cy="869145"/>
          </a:xfrm>
        </p:grpSpPr>
        <p:sp>
          <p:nvSpPr>
            <p:cNvPr id="52" name="Kreis: nicht ausgefüllt 51">
              <a:extLst>
                <a:ext uri="{FF2B5EF4-FFF2-40B4-BE49-F238E27FC236}">
                  <a16:creationId xmlns:a16="http://schemas.microsoft.com/office/drawing/2014/main" id="{98D12DD5-F1CA-E7F8-4AB7-111D515EC8B8}"/>
                </a:ext>
              </a:extLst>
            </p:cNvPr>
            <p:cNvSpPr/>
            <p:nvPr>
              <p:custDataLst>
                <p:tags r:id="rId8"/>
              </p:custDataLst>
            </p:nvPr>
          </p:nvSpPr>
          <p:spPr>
            <a:xfrm>
              <a:off x="7459565" y="1779904"/>
              <a:ext cx="869145" cy="869145"/>
            </a:xfrm>
            <a:prstGeom prst="donut">
              <a:avLst>
                <a:gd name="adj" fmla="val 5998"/>
              </a:avLst>
            </a:prstGeom>
            <a:blipFill>
              <a:blip r:embed="rId15"/>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53" name="Grafik 52">
              <a:extLst>
                <a:ext uri="{FF2B5EF4-FFF2-40B4-BE49-F238E27FC236}">
                  <a16:creationId xmlns:a16="http://schemas.microsoft.com/office/drawing/2014/main" id="{ACBAF2E8-50FD-C0DB-0B75-F33123019D95}"/>
                </a:ext>
              </a:extLst>
            </p:cNvPr>
            <p:cNvPicPr>
              <a:picLocks noChangeAspect="1"/>
            </p:cNvPicPr>
            <p:nvPr/>
          </p:nvPicPr>
          <p:blipFill>
            <a:blip>
              <a:extLst>
                <a:ext uri="{96DAC541-7B7A-43D3-8B79-37D633B846F1}">
                  <asvg:svgBlip xmlns:asvg="http://schemas.microsoft.com/office/drawing/2016/SVG/main" r:embed="rId20"/>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33868929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4B28F-3A84-66D9-E7F8-D6984BC8ABB8}"/>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F9971694-61B6-7C80-3742-F8D6D704F614}"/>
              </a:ext>
            </a:extLst>
          </p:cNvPr>
          <p:cNvSpPr/>
          <p:nvPr/>
        </p:nvSpPr>
        <p:spPr>
          <a:xfrm>
            <a:off x="9671370" y="1781092"/>
            <a:ext cx="2685600" cy="4311733"/>
          </a:xfrm>
          <a:prstGeom prst="round2DiagRect">
            <a:avLst>
              <a:gd name="adj1" fmla="val 0"/>
              <a:gd name="adj2" fmla="val 4143"/>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a:ea typeface="+mn-lt"/>
                <a:cs typeface="+mn-lt"/>
              </a:rPr>
              <a:t>Contact Person</a:t>
            </a:r>
          </a:p>
          <a:p>
            <a:r>
              <a:rPr lang="en-US" sz="1200">
                <a:ea typeface="+mn-lt"/>
                <a:cs typeface="+mn-lt"/>
              </a:rPr>
              <a:t>Conny Barth</a:t>
            </a:r>
          </a:p>
          <a:p>
            <a:r>
              <a:rPr lang="en-US" sz="1200">
                <a:ea typeface="+mn-lt"/>
                <a:cs typeface="+mn-lt"/>
              </a:rPr>
              <a:t>+49 177 823 6401</a:t>
            </a:r>
          </a:p>
          <a:p>
            <a:r>
              <a:rPr lang="en-US" sz="1200">
                <a:ea typeface="+mn-lt"/>
                <a:cs typeface="+mn-lt"/>
              </a:rPr>
              <a:t>conny.bart@compin.eu</a:t>
            </a:r>
          </a:p>
          <a:p>
            <a:endParaRPr lang="de-DE" sz="1200">
              <a:ea typeface="+mn-lt"/>
              <a:cs typeface="+mn-lt"/>
            </a:endParaRPr>
          </a:p>
          <a:p>
            <a:r>
              <a:rPr lang="en-US" sz="1200">
                <a:ea typeface="+mn-lt"/>
                <a:cs typeface="+mn-lt"/>
              </a:rPr>
              <a:t>Miroslav Mitrovic</a:t>
            </a:r>
          </a:p>
          <a:p>
            <a:r>
              <a:rPr lang="en-US" sz="1200">
                <a:ea typeface="+mn-lt"/>
                <a:cs typeface="+mn-lt"/>
              </a:rPr>
              <a:t>+49 160 969 08502</a:t>
            </a:r>
          </a:p>
          <a:p>
            <a:r>
              <a:rPr lang="en-US" sz="1200">
                <a:ea typeface="+mn-lt"/>
                <a:cs typeface="+mn-lt"/>
              </a:rPr>
              <a:t>miroslav.mitrovic@compin.eu</a:t>
            </a:r>
          </a:p>
        </p:txBody>
      </p:sp>
      <p:sp>
        <p:nvSpPr>
          <p:cNvPr id="7" name="Titel 11">
            <a:extLst>
              <a:ext uri="{FF2B5EF4-FFF2-40B4-BE49-F238E27FC236}">
                <a16:creationId xmlns:a16="http://schemas.microsoft.com/office/drawing/2014/main" id="{EBB660B8-20CA-BC4B-723E-B4315A7FF2B4}"/>
              </a:ext>
            </a:extLst>
          </p:cNvPr>
          <p:cNvSpPr txBox="1">
            <a:spLocks/>
          </p:cNvSpPr>
          <p:nvPr>
            <p:custDataLst>
              <p:tags r:id="rId1"/>
            </p:custDataLst>
          </p:nvPr>
        </p:nvSpPr>
        <p:spPr bwMode="gray">
          <a:xfrm>
            <a:off x="9989004" y="2110176"/>
            <a:ext cx="1856632"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12" name="Titel 5">
            <a:extLst>
              <a:ext uri="{FF2B5EF4-FFF2-40B4-BE49-F238E27FC236}">
                <a16:creationId xmlns:a16="http://schemas.microsoft.com/office/drawing/2014/main" id="{ED165774-123D-A7B5-5D81-ABCB5E7A7886}"/>
              </a:ext>
            </a:extLst>
          </p:cNvPr>
          <p:cNvSpPr>
            <a:spLocks noGrp="1"/>
          </p:cNvSpPr>
          <p:nvPr>
            <p:ph type="title"/>
          </p:nvPr>
        </p:nvSpPr>
        <p:spPr>
          <a:xfrm>
            <a:off x="649008" y="620713"/>
            <a:ext cx="9807031" cy="738664"/>
          </a:xfrm>
        </p:spPr>
        <p:txBody>
          <a:bodyPr vert="horz"/>
          <a:lstStyle/>
          <a:p>
            <a:r>
              <a:rPr lang="en-US"/>
              <a:t>Competent Insurance Services</a:t>
            </a:r>
            <a:br>
              <a:rPr lang="en-US"/>
            </a:br>
            <a:r>
              <a:rPr lang="en-US" b="1">
                <a:ea typeface="+mn-lt"/>
                <a:cs typeface="+mn-lt"/>
              </a:rPr>
              <a:t>Sourcing solutions for insurance-specific processing</a:t>
            </a:r>
          </a:p>
        </p:txBody>
      </p:sp>
      <p:sp>
        <p:nvSpPr>
          <p:cNvPr id="14" name="Fußzeilenplatzhalter 1">
            <a:extLst>
              <a:ext uri="{FF2B5EF4-FFF2-40B4-BE49-F238E27FC236}">
                <a16:creationId xmlns:a16="http://schemas.microsoft.com/office/drawing/2014/main" id="{61EC00FE-782D-A7EA-AA1B-32194924832E}"/>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D6ACF124-014E-D7A8-6096-A380E781C490}"/>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7</a:t>
            </a:fld>
            <a:endParaRPr lang="de-DE"/>
          </a:p>
        </p:txBody>
      </p:sp>
      <p:sp>
        <p:nvSpPr>
          <p:cNvPr id="24" name="Textfeld 23">
            <a:extLst>
              <a:ext uri="{FF2B5EF4-FFF2-40B4-BE49-F238E27FC236}">
                <a16:creationId xmlns:a16="http://schemas.microsoft.com/office/drawing/2014/main" id="{801BF759-C3C1-1FD9-A8C8-986261711377}"/>
              </a:ext>
            </a:extLst>
          </p:cNvPr>
          <p:cNvSpPr txBox="1"/>
          <p:nvPr>
            <p:custDataLst>
              <p:tags r:id="rId2"/>
            </p:custDataLst>
          </p:nvPr>
        </p:nvSpPr>
        <p:spPr>
          <a:xfrm>
            <a:off x="655780" y="1752919"/>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300"/>
              </a:spcAft>
            </a:pPr>
            <a:r>
              <a:rPr lang="en-US" sz="1400" b="1" dirty="0"/>
              <a:t>Your Challenge</a:t>
            </a:r>
          </a:p>
          <a:p>
            <a:pPr marL="215900" lvl="1" indent="-215900">
              <a:lnSpc>
                <a:spcPct val="90000"/>
              </a:lnSpc>
              <a:spcAft>
                <a:spcPts val="300"/>
              </a:spcAft>
            </a:pPr>
            <a:r>
              <a:rPr lang="en-US" sz="1200" dirty="0"/>
              <a:t>Intense operational demands in processing</a:t>
            </a:r>
          </a:p>
          <a:p>
            <a:pPr marL="215900" lvl="1" indent="-215900">
              <a:lnSpc>
                <a:spcPct val="90000"/>
              </a:lnSpc>
              <a:spcAft>
                <a:spcPts val="300"/>
              </a:spcAft>
            </a:pPr>
            <a:r>
              <a:rPr lang="en-US" sz="1200" dirty="0"/>
              <a:t>Rising capacity constraints caused by seasonal </a:t>
            </a:r>
            <a:br>
              <a:rPr lang="en-US" sz="1200" dirty="0"/>
            </a:br>
            <a:r>
              <a:rPr lang="en-US" sz="1200" dirty="0"/>
              <a:t>peak loads and unforeseen circumstances</a:t>
            </a:r>
          </a:p>
          <a:p>
            <a:pPr marL="215900" lvl="1" indent="-215900">
              <a:lnSpc>
                <a:spcPct val="90000"/>
              </a:lnSpc>
              <a:spcAft>
                <a:spcPts val="300"/>
              </a:spcAft>
            </a:pPr>
            <a:r>
              <a:rPr lang="en-US" sz="1200" dirty="0"/>
              <a:t>Insufficient flexibility in managing and supplying qualified resources</a:t>
            </a:r>
          </a:p>
          <a:p>
            <a:pPr marL="215900" lvl="1" indent="-215900">
              <a:lnSpc>
                <a:spcPct val="90000"/>
              </a:lnSpc>
              <a:spcAft>
                <a:spcPts val="300"/>
              </a:spcAft>
            </a:pPr>
            <a:r>
              <a:rPr lang="en-US" sz="1200" dirty="0"/>
              <a:t>Holds on essential transformation initiatives due to a shortage of specialist resources from the operational units</a:t>
            </a:r>
          </a:p>
          <a:p>
            <a:pPr marL="215900" lvl="1" indent="-215900">
              <a:lnSpc>
                <a:spcPct val="90000"/>
              </a:lnSpc>
              <a:spcAft>
                <a:spcPts val="300"/>
              </a:spcAft>
            </a:pPr>
            <a:r>
              <a:rPr lang="en-US" sz="1200" dirty="0"/>
              <a:t>Limited scalability for specific processes or the administration of particular contract portfolios</a:t>
            </a:r>
          </a:p>
          <a:p>
            <a:pPr marL="215900" lvl="1" indent="-215900">
              <a:lnSpc>
                <a:spcPct val="90000"/>
              </a:lnSpc>
              <a:spcAft>
                <a:spcPts val="300"/>
              </a:spcAft>
            </a:pPr>
            <a:endParaRPr lang="de-DE" sz="800" dirty="0"/>
          </a:p>
        </p:txBody>
      </p:sp>
      <p:sp>
        <p:nvSpPr>
          <p:cNvPr id="26" name="Textfeld 25">
            <a:extLst>
              <a:ext uri="{FF2B5EF4-FFF2-40B4-BE49-F238E27FC236}">
                <a16:creationId xmlns:a16="http://schemas.microsoft.com/office/drawing/2014/main" id="{05D1BD0D-9422-5949-B749-1723951B11D5}"/>
              </a:ext>
            </a:extLst>
          </p:cNvPr>
          <p:cNvSpPr txBox="1"/>
          <p:nvPr>
            <p:custDataLst>
              <p:tags r:id="rId3"/>
            </p:custDataLst>
          </p:nvPr>
        </p:nvSpPr>
        <p:spPr>
          <a:xfrm>
            <a:off x="5229715" y="1752919"/>
            <a:ext cx="4125529" cy="91440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400"/>
              </a:spcAft>
            </a:pPr>
            <a:r>
              <a:rPr lang="en-US" sz="1400" b="1" dirty="0"/>
              <a:t>Your Benefits</a:t>
            </a:r>
          </a:p>
          <a:p>
            <a:pPr marL="215900" lvl="1" indent="-215900">
              <a:lnSpc>
                <a:spcPct val="90000"/>
              </a:lnSpc>
              <a:spcAft>
                <a:spcPts val="400"/>
              </a:spcAft>
            </a:pPr>
            <a:r>
              <a:rPr lang="en-US" sz="1200" dirty="0"/>
              <a:t>Targeted </a:t>
            </a:r>
            <a:r>
              <a:rPr lang="en-US" sz="1200" b="1" dirty="0"/>
              <a:t>relief</a:t>
            </a:r>
            <a:r>
              <a:rPr lang="en-US" sz="1200" dirty="0"/>
              <a:t> by strategically utilizing </a:t>
            </a:r>
            <a:br>
              <a:rPr lang="en-US" sz="1200" dirty="0"/>
            </a:br>
            <a:r>
              <a:rPr lang="en-US" sz="1200" dirty="0"/>
              <a:t>COMPIN capabilities to efficiently alleviate </a:t>
            </a:r>
            <a:br>
              <a:rPr lang="en-US" sz="1200" dirty="0"/>
            </a:br>
            <a:r>
              <a:rPr lang="en-US" sz="1200" dirty="0"/>
              <a:t>backlogs or soften peak demands</a:t>
            </a:r>
          </a:p>
          <a:p>
            <a:pPr marL="215900" lvl="1" indent="-215900">
              <a:lnSpc>
                <a:spcPct val="90000"/>
              </a:lnSpc>
              <a:spcAft>
                <a:spcPts val="400"/>
              </a:spcAft>
            </a:pPr>
            <a:r>
              <a:rPr lang="en-US" sz="1200" dirty="0"/>
              <a:t>Sustainable </a:t>
            </a:r>
            <a:r>
              <a:rPr lang="en-US" sz="1200" b="1" dirty="0"/>
              <a:t>flexibility</a:t>
            </a:r>
            <a:r>
              <a:rPr lang="en-US" sz="1200" dirty="0"/>
              <a:t> achieved by the consistent and variable allocation of COMPIN capabilities, </a:t>
            </a:r>
            <a:br>
              <a:rPr lang="en-US" sz="1200" dirty="0"/>
            </a:br>
            <a:r>
              <a:rPr lang="en-US" sz="1200" dirty="0"/>
              <a:t>ensuring that essential resources are accessible when required</a:t>
            </a:r>
          </a:p>
          <a:p>
            <a:pPr marL="215900" lvl="1" indent="-215900">
              <a:lnSpc>
                <a:spcPct val="90000"/>
              </a:lnSpc>
              <a:spcAft>
                <a:spcPts val="400"/>
              </a:spcAft>
            </a:pPr>
            <a:r>
              <a:rPr lang="en-US" sz="1200" dirty="0"/>
              <a:t>By consistently utilizing COMPIN capabilities, you can maintain an operational </a:t>
            </a:r>
            <a:r>
              <a:rPr lang="en-US" sz="1200" b="1" dirty="0"/>
              <a:t>focus</a:t>
            </a:r>
            <a:r>
              <a:rPr lang="en-US" sz="1200" dirty="0"/>
              <a:t> that allows you to direct your resources towards strategically important core activities</a:t>
            </a:r>
          </a:p>
          <a:p>
            <a:pPr>
              <a:lnSpc>
                <a:spcPct val="90000"/>
              </a:lnSpc>
              <a:spcAft>
                <a:spcPts val="400"/>
              </a:spcAft>
            </a:pPr>
            <a:endParaRPr lang="de-DE" sz="1400" dirty="0"/>
          </a:p>
        </p:txBody>
      </p:sp>
      <p:sp>
        <p:nvSpPr>
          <p:cNvPr id="28" name="Textfeld 27">
            <a:extLst>
              <a:ext uri="{FF2B5EF4-FFF2-40B4-BE49-F238E27FC236}">
                <a16:creationId xmlns:a16="http://schemas.microsoft.com/office/drawing/2014/main" id="{2953764C-18DC-29C1-07F7-6951864BD96F}"/>
              </a:ext>
            </a:extLst>
          </p:cNvPr>
          <p:cNvSpPr txBox="1"/>
          <p:nvPr>
            <p:custDataLst>
              <p:tags r:id="rId4"/>
            </p:custDataLst>
          </p:nvPr>
        </p:nvSpPr>
        <p:spPr>
          <a:xfrm>
            <a:off x="653195" y="4095595"/>
            <a:ext cx="4291968"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400"/>
              </a:spcAft>
            </a:pPr>
            <a:r>
              <a:rPr lang="en-US" sz="1400" b="1" dirty="0"/>
              <a:t>Our Offering</a:t>
            </a:r>
          </a:p>
          <a:p>
            <a:pPr marL="215900" lvl="1" indent="-215900">
              <a:lnSpc>
                <a:spcPct val="90000"/>
              </a:lnSpc>
              <a:spcAft>
                <a:spcPts val="400"/>
              </a:spcAft>
            </a:pPr>
            <a:r>
              <a:rPr lang="en-US" sz="1200" dirty="0"/>
              <a:t>Qualified processing in the areas of</a:t>
            </a:r>
            <a:br>
              <a:rPr lang="en-US" sz="1200" dirty="0"/>
            </a:br>
            <a:r>
              <a:rPr lang="en-US" sz="1200" dirty="0"/>
              <a:t>applications, contracts, claims/benefits</a:t>
            </a:r>
          </a:p>
          <a:p>
            <a:pPr marL="215900" lvl="1" indent="-215900">
              <a:lnSpc>
                <a:spcPct val="90000"/>
              </a:lnSpc>
              <a:spcAft>
                <a:spcPts val="400"/>
              </a:spcAft>
            </a:pPr>
            <a:r>
              <a:rPr lang="en-US" sz="1200" dirty="0"/>
              <a:t>In the life, health and composite insurance lines, </a:t>
            </a:r>
            <a:br>
              <a:rPr lang="en-US" sz="1200" dirty="0"/>
            </a:br>
            <a:r>
              <a:rPr lang="en-US" sz="1200" dirty="0"/>
              <a:t>we handle everything from straightforward to intricate </a:t>
            </a:r>
            <a:br>
              <a:rPr lang="en-US" sz="1200" dirty="0"/>
            </a:br>
            <a:r>
              <a:rPr lang="en-US" sz="1200" dirty="0"/>
              <a:t>business transactions and comprehensive processes</a:t>
            </a:r>
          </a:p>
          <a:p>
            <a:pPr marL="215900" lvl="1" indent="-215900">
              <a:lnSpc>
                <a:spcPct val="90000"/>
              </a:lnSpc>
              <a:spcAft>
                <a:spcPts val="400"/>
              </a:spcAft>
            </a:pPr>
            <a:r>
              <a:rPr lang="en-US" sz="1200" dirty="0"/>
              <a:t>On existing IT systems and applications</a:t>
            </a:r>
          </a:p>
          <a:p>
            <a:pPr marL="215900" lvl="1" indent="-215900">
              <a:lnSpc>
                <a:spcPct val="90000"/>
              </a:lnSpc>
              <a:spcAft>
                <a:spcPts val="400"/>
              </a:spcAft>
            </a:pPr>
            <a:r>
              <a:rPr lang="en-US" sz="1200" dirty="0"/>
              <a:t>With a tailor-made range of services and seamless integration into existing insurance operations</a:t>
            </a:r>
          </a:p>
          <a:p>
            <a:pPr marL="215900" lvl="1" indent="-215900">
              <a:lnSpc>
                <a:spcPct val="90000"/>
              </a:lnSpc>
              <a:spcAft>
                <a:spcPts val="400"/>
              </a:spcAft>
            </a:pPr>
            <a:r>
              <a:rPr lang="en-US" sz="1200" dirty="0"/>
              <a:t>OPTIONALLY with the incorporation of appropriate automation solutions, considering the current IT infrastructure</a:t>
            </a:r>
          </a:p>
        </p:txBody>
      </p:sp>
      <p:sp>
        <p:nvSpPr>
          <p:cNvPr id="30" name="Textfeld 29">
            <a:extLst>
              <a:ext uri="{FF2B5EF4-FFF2-40B4-BE49-F238E27FC236}">
                <a16:creationId xmlns:a16="http://schemas.microsoft.com/office/drawing/2014/main" id="{0C6CA2CA-2F39-D1BA-3553-F92E0EAF8E9D}"/>
              </a:ext>
            </a:extLst>
          </p:cNvPr>
          <p:cNvSpPr txBox="1"/>
          <p:nvPr>
            <p:custDataLst>
              <p:tags r:id="rId5"/>
            </p:custDataLst>
          </p:nvPr>
        </p:nvSpPr>
        <p:spPr>
          <a:xfrm>
            <a:off x="5227130" y="4095595"/>
            <a:ext cx="4216380"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400"/>
              </a:spcAft>
            </a:pPr>
            <a:r>
              <a:rPr lang="en-US" dirty="0"/>
              <a:t>Our Partners and References</a:t>
            </a:r>
          </a:p>
          <a:p>
            <a:pPr marL="215900" lvl="1" indent="-215900">
              <a:lnSpc>
                <a:spcPct val="90000"/>
              </a:lnSpc>
              <a:spcAft>
                <a:spcPts val="400"/>
              </a:spcAft>
            </a:pPr>
            <a:r>
              <a:rPr lang="en-US" sz="1200" dirty="0"/>
              <a:t>Close collaboration with msg</a:t>
            </a:r>
          </a:p>
          <a:p>
            <a:pPr marL="215900" lvl="1" indent="-215900">
              <a:lnSpc>
                <a:spcPct val="90000"/>
              </a:lnSpc>
              <a:spcAft>
                <a:spcPts val="400"/>
              </a:spcAft>
            </a:pPr>
            <a:r>
              <a:rPr lang="en-US" sz="1200" dirty="0"/>
              <a:t>Selected customers:</a:t>
            </a:r>
          </a:p>
          <a:p>
            <a:pPr marL="363538" lvl="2" indent="-134938">
              <a:lnSpc>
                <a:spcPct val="95000"/>
              </a:lnSpc>
              <a:spcAft>
                <a:spcPts val="300"/>
              </a:spcAft>
              <a:buClr>
                <a:srgbClr val="A01441"/>
              </a:buClr>
            </a:pPr>
            <a:r>
              <a:rPr lang="en-US" sz="1200" dirty="0"/>
              <a:t>Health insurers – Risk assessment </a:t>
            </a:r>
            <a:br>
              <a:rPr lang="en-US" sz="1200" dirty="0"/>
            </a:br>
            <a:r>
              <a:rPr lang="en-US" sz="1200" dirty="0"/>
              <a:t>and claims processing</a:t>
            </a:r>
          </a:p>
          <a:p>
            <a:pPr marL="363538" lvl="2" indent="-134938">
              <a:lnSpc>
                <a:spcPct val="95000"/>
              </a:lnSpc>
              <a:spcAft>
                <a:spcPts val="300"/>
              </a:spcAft>
              <a:buClr>
                <a:srgbClr val="A01441"/>
              </a:buClr>
            </a:pPr>
            <a:r>
              <a:rPr lang="en-US" sz="1200" dirty="0"/>
              <a:t>Composite insurers – Customer service for motor vehicles</a:t>
            </a:r>
          </a:p>
          <a:p>
            <a:pPr marL="363538" lvl="2" indent="-134938">
              <a:lnSpc>
                <a:spcPct val="95000"/>
              </a:lnSpc>
              <a:spcAft>
                <a:spcPts val="300"/>
              </a:spcAft>
              <a:buClr>
                <a:srgbClr val="A01441"/>
              </a:buClr>
            </a:pPr>
            <a:r>
              <a:rPr lang="en-US" sz="1200" dirty="0"/>
              <a:t>Life insurance – Application and contract services</a:t>
            </a:r>
          </a:p>
          <a:p>
            <a:pPr marL="363538" lvl="2" indent="-134938">
              <a:lnSpc>
                <a:spcPct val="95000"/>
              </a:lnSpc>
              <a:spcAft>
                <a:spcPts val="300"/>
              </a:spcAft>
              <a:buClr>
                <a:srgbClr val="A01441"/>
              </a:buClr>
            </a:pPr>
            <a:r>
              <a:rPr lang="en-US" sz="1200" dirty="0"/>
              <a:t>Underwriters – Customer service</a:t>
            </a:r>
          </a:p>
        </p:txBody>
      </p:sp>
      <p:pic>
        <p:nvPicPr>
          <p:cNvPr id="9" name="Picture 8">
            <a:extLst>
              <a:ext uri="{FF2B5EF4-FFF2-40B4-BE49-F238E27FC236}">
                <a16:creationId xmlns:a16="http://schemas.microsoft.com/office/drawing/2014/main" id="{F1DFEC85-D899-0A28-C7A6-81703E07EC90}"/>
              </a:ext>
            </a:extLst>
          </p:cNvPr>
          <p:cNvPicPr>
            <a:picLocks noChangeAspect="1"/>
          </p:cNvPicPr>
          <p:nvPr/>
        </p:nvPicPr>
        <p:blipFill>
          <a:blip r:embed="rId13"/>
          <a:stretch>
            <a:fillRect/>
          </a:stretch>
        </p:blipFill>
        <p:spPr>
          <a:xfrm>
            <a:off x="10179132" y="2237688"/>
            <a:ext cx="1476375" cy="361952"/>
          </a:xfrm>
          <a:prstGeom prst="rect">
            <a:avLst/>
          </a:prstGeom>
        </p:spPr>
      </p:pic>
      <p:cxnSp>
        <p:nvCxnSpPr>
          <p:cNvPr id="10" name="Gerader Verbinder 19">
            <a:extLst>
              <a:ext uri="{FF2B5EF4-FFF2-40B4-BE49-F238E27FC236}">
                <a16:creationId xmlns:a16="http://schemas.microsoft.com/office/drawing/2014/main" id="{34905F9D-EBE7-FB8C-27B9-A4408B9821DF}"/>
              </a:ext>
            </a:extLst>
          </p:cNvPr>
          <p:cNvCxnSpPr>
            <a:cxnSpLocks/>
          </p:cNvCxnSpPr>
          <p:nvPr/>
        </p:nvCxnSpPr>
        <p:spPr>
          <a:xfrm>
            <a:off x="51083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uppieren 3">
            <a:extLst>
              <a:ext uri="{FF2B5EF4-FFF2-40B4-BE49-F238E27FC236}">
                <a16:creationId xmlns:a16="http://schemas.microsoft.com/office/drawing/2014/main" id="{EAB2D59C-9881-B92B-BE34-051BC7983D15}"/>
              </a:ext>
            </a:extLst>
          </p:cNvPr>
          <p:cNvGrpSpPr/>
          <p:nvPr/>
        </p:nvGrpSpPr>
        <p:grpSpPr>
          <a:xfrm>
            <a:off x="4215007" y="1771450"/>
            <a:ext cx="703694" cy="703694"/>
            <a:chOff x="3460071" y="1779904"/>
            <a:chExt cx="869145" cy="869145"/>
          </a:xfrm>
        </p:grpSpPr>
        <p:sp>
          <p:nvSpPr>
            <p:cNvPr id="5" name="Kreis: nicht ausgefüllt 4">
              <a:extLst>
                <a:ext uri="{FF2B5EF4-FFF2-40B4-BE49-F238E27FC236}">
                  <a16:creationId xmlns:a16="http://schemas.microsoft.com/office/drawing/2014/main" id="{9E595487-775B-F307-067D-F41C62717286}"/>
                </a:ext>
              </a:extLst>
            </p:cNvPr>
            <p:cNvSpPr/>
            <p:nvPr>
              <p:custDataLst>
                <p:tags r:id="rId9"/>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6" name="Grafik 5">
              <a:extLst>
                <a:ext uri="{FF2B5EF4-FFF2-40B4-BE49-F238E27FC236}">
                  <a16:creationId xmlns:a16="http://schemas.microsoft.com/office/drawing/2014/main" id="{0CC18FDB-424E-8B52-7610-71C6D3604269}"/>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96632" y="1796942"/>
              <a:ext cx="809625" cy="809625"/>
            </a:xfrm>
            <a:prstGeom prst="rect">
              <a:avLst/>
            </a:prstGeom>
          </p:spPr>
        </p:pic>
      </p:grpSp>
      <p:grpSp>
        <p:nvGrpSpPr>
          <p:cNvPr id="11" name="Gruppieren 10">
            <a:extLst>
              <a:ext uri="{FF2B5EF4-FFF2-40B4-BE49-F238E27FC236}">
                <a16:creationId xmlns:a16="http://schemas.microsoft.com/office/drawing/2014/main" id="{5BC5A9D2-2C7E-B232-DEAD-F6193F4A9D32}"/>
              </a:ext>
            </a:extLst>
          </p:cNvPr>
          <p:cNvGrpSpPr/>
          <p:nvPr/>
        </p:nvGrpSpPr>
        <p:grpSpPr>
          <a:xfrm>
            <a:off x="8761542" y="4086986"/>
            <a:ext cx="703694" cy="703694"/>
            <a:chOff x="8575325" y="4111833"/>
            <a:chExt cx="869145" cy="869145"/>
          </a:xfrm>
        </p:grpSpPr>
        <p:sp>
          <p:nvSpPr>
            <p:cNvPr id="13" name="Kreis: nicht ausgefüllt 12">
              <a:extLst>
                <a:ext uri="{FF2B5EF4-FFF2-40B4-BE49-F238E27FC236}">
                  <a16:creationId xmlns:a16="http://schemas.microsoft.com/office/drawing/2014/main" id="{586CEA31-0FC1-8867-B0F0-AF8F89696873}"/>
                </a:ext>
              </a:extLst>
            </p:cNvPr>
            <p:cNvSpPr/>
            <p:nvPr>
              <p:custDataLst>
                <p:tags r:id="rId8"/>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5" name="Grafik 14">
              <a:extLst>
                <a:ext uri="{FF2B5EF4-FFF2-40B4-BE49-F238E27FC236}">
                  <a16:creationId xmlns:a16="http://schemas.microsoft.com/office/drawing/2014/main" id="{5F24F397-CF54-A63A-C021-81A37386D4E6}"/>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8608010" y="4171353"/>
              <a:ext cx="809625" cy="809625"/>
            </a:xfrm>
            <a:prstGeom prst="rect">
              <a:avLst/>
            </a:prstGeom>
          </p:spPr>
        </p:pic>
      </p:grpSp>
      <p:grpSp>
        <p:nvGrpSpPr>
          <p:cNvPr id="17" name="Gruppieren 16">
            <a:extLst>
              <a:ext uri="{FF2B5EF4-FFF2-40B4-BE49-F238E27FC236}">
                <a16:creationId xmlns:a16="http://schemas.microsoft.com/office/drawing/2014/main" id="{908C773A-D682-47F7-99F3-0445E80D2747}"/>
              </a:ext>
            </a:extLst>
          </p:cNvPr>
          <p:cNvGrpSpPr/>
          <p:nvPr/>
        </p:nvGrpSpPr>
        <p:grpSpPr>
          <a:xfrm>
            <a:off x="4215007" y="4086986"/>
            <a:ext cx="703694" cy="703694"/>
            <a:chOff x="3460071" y="4111833"/>
            <a:chExt cx="869145" cy="869145"/>
          </a:xfrm>
        </p:grpSpPr>
        <p:sp>
          <p:nvSpPr>
            <p:cNvPr id="18" name="Kreis: nicht ausgefüllt 17">
              <a:extLst>
                <a:ext uri="{FF2B5EF4-FFF2-40B4-BE49-F238E27FC236}">
                  <a16:creationId xmlns:a16="http://schemas.microsoft.com/office/drawing/2014/main" id="{0681A5C0-20A0-9B89-C477-BCC5519BE491}"/>
                </a:ext>
              </a:extLst>
            </p:cNvPr>
            <p:cNvSpPr/>
            <p:nvPr>
              <p:custDataLst>
                <p:tags r:id="rId7"/>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9" name="Grafik 18">
              <a:extLst>
                <a:ext uri="{FF2B5EF4-FFF2-40B4-BE49-F238E27FC236}">
                  <a16:creationId xmlns:a16="http://schemas.microsoft.com/office/drawing/2014/main" id="{A2793D9C-8813-0210-DDF0-BE893ADAAA2F}"/>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3489830" y="4141593"/>
              <a:ext cx="809625" cy="809625"/>
            </a:xfrm>
            <a:prstGeom prst="rect">
              <a:avLst/>
            </a:prstGeom>
          </p:spPr>
        </p:pic>
      </p:grpSp>
      <p:grpSp>
        <p:nvGrpSpPr>
          <p:cNvPr id="20" name="Gruppieren 19">
            <a:extLst>
              <a:ext uri="{FF2B5EF4-FFF2-40B4-BE49-F238E27FC236}">
                <a16:creationId xmlns:a16="http://schemas.microsoft.com/office/drawing/2014/main" id="{21E55562-DEB8-D5A7-4066-92AD7BE7F9E2}"/>
              </a:ext>
            </a:extLst>
          </p:cNvPr>
          <p:cNvGrpSpPr/>
          <p:nvPr/>
        </p:nvGrpSpPr>
        <p:grpSpPr>
          <a:xfrm>
            <a:off x="8761541" y="1771450"/>
            <a:ext cx="703694" cy="703694"/>
            <a:chOff x="7459565" y="1779904"/>
            <a:chExt cx="869145" cy="869145"/>
          </a:xfrm>
        </p:grpSpPr>
        <p:sp>
          <p:nvSpPr>
            <p:cNvPr id="21" name="Kreis: nicht ausgefüllt 20">
              <a:extLst>
                <a:ext uri="{FF2B5EF4-FFF2-40B4-BE49-F238E27FC236}">
                  <a16:creationId xmlns:a16="http://schemas.microsoft.com/office/drawing/2014/main" id="{7A622D55-B401-50D2-438B-7DA79CF83933}"/>
                </a:ext>
              </a:extLst>
            </p:cNvPr>
            <p:cNvSpPr/>
            <p:nvPr>
              <p:custDataLst>
                <p:tags r:id="rId6"/>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2" name="Grafik 21">
              <a:extLst>
                <a:ext uri="{FF2B5EF4-FFF2-40B4-BE49-F238E27FC236}">
                  <a16:creationId xmlns:a16="http://schemas.microsoft.com/office/drawing/2014/main" id="{ED4F2B81-8632-D7F2-47CC-B83B565A3621}"/>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15368932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71370" y="1781092"/>
            <a:ext cx="2685600"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a:ea typeface="+mn-lt"/>
                <a:cs typeface="+mn-lt"/>
              </a:rPr>
              <a:t>Contact Person</a:t>
            </a:r>
          </a:p>
          <a:p>
            <a:r>
              <a:rPr lang="en-US" sz="1200">
                <a:ea typeface="+mn-lt"/>
                <a:cs typeface="+mn-lt"/>
              </a:rPr>
              <a:t>Holger Hornik</a:t>
            </a:r>
          </a:p>
          <a:p>
            <a:r>
              <a:rPr lang="en-US" sz="1200">
                <a:ea typeface="+mn-lt"/>
                <a:cs typeface="+mn-lt"/>
              </a:rPr>
              <a:t>+49 173 8954169</a:t>
            </a:r>
            <a:br>
              <a:rPr lang="en-US" sz="1200">
                <a:ea typeface="+mn-lt"/>
                <a:cs typeface="+mn-lt"/>
              </a:rPr>
            </a:br>
            <a:r>
              <a:rPr lang="en-US" sz="1200">
                <a:ea typeface="+mn-lt"/>
                <a:cs typeface="+mn-lt"/>
              </a:rPr>
              <a:t>Holger.Hornik@msg.group</a:t>
            </a:r>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en-US"/>
              <a:t>Digital consulting and completion processes – secure and compliant</a:t>
            </a:r>
            <a:br>
              <a:rPr lang="en-US"/>
            </a:br>
            <a:r>
              <a:rPr lang="en-US" b="1">
                <a:ea typeface="+mn-lt"/>
                <a:cs typeface="+mn-lt"/>
              </a:rPr>
              <a:t>Conversational AI: Neohelden platform</a:t>
            </a:r>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8</a:t>
            </a:fld>
            <a:endParaRPr lang="de-DE"/>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4" y="1757105"/>
            <a:ext cx="4164770"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Challenge</a:t>
            </a:r>
          </a:p>
          <a:p>
            <a:pPr marL="171450" indent="-171450">
              <a:lnSpc>
                <a:spcPct val="90000"/>
              </a:lnSpc>
              <a:spcAft>
                <a:spcPts val="200"/>
              </a:spcAft>
              <a:buClr>
                <a:srgbClr val="A01441"/>
              </a:buClr>
              <a:buFont typeface="Arial" panose="020B0604020202020204" pitchFamily="34" charset="0"/>
              <a:buChar char="•"/>
            </a:pPr>
            <a:r>
              <a:rPr lang="en-US" sz="1200" b="1" dirty="0">
                <a:ea typeface="+mn-lt"/>
                <a:cs typeface="+mn-lt"/>
              </a:rPr>
              <a:t>High number of requests:</a:t>
            </a:r>
            <a:r>
              <a:rPr lang="en-US" sz="1200" dirty="0">
                <a:ea typeface="+mn-lt"/>
                <a:cs typeface="+mn-lt"/>
              </a:rPr>
              <a:t> Customers expect </a:t>
            </a:r>
            <a:br>
              <a:rPr lang="en-US" sz="1200" dirty="0">
                <a:ea typeface="+mn-lt"/>
                <a:cs typeface="+mn-lt"/>
              </a:rPr>
            </a:br>
            <a:r>
              <a:rPr lang="en-US" sz="1200" dirty="0">
                <a:ea typeface="+mn-lt"/>
                <a:cs typeface="+mn-lt"/>
              </a:rPr>
              <a:t>quick replies at all hours, yet numerous requests </a:t>
            </a:r>
            <a:br>
              <a:rPr lang="en-US" sz="1200" dirty="0">
                <a:ea typeface="+mn-lt"/>
                <a:cs typeface="+mn-lt"/>
              </a:rPr>
            </a:br>
            <a:r>
              <a:rPr lang="en-US" sz="1200" dirty="0">
                <a:ea typeface="+mn-lt"/>
                <a:cs typeface="+mn-lt"/>
              </a:rPr>
              <a:t>continue to be handled manually</a:t>
            </a:r>
          </a:p>
          <a:p>
            <a:pPr marL="215900" lvl="1" indent="-215900">
              <a:lnSpc>
                <a:spcPct val="90000"/>
              </a:lnSpc>
              <a:spcAft>
                <a:spcPts val="200"/>
              </a:spcAft>
            </a:pPr>
            <a:r>
              <a:rPr lang="en-US" sz="1200" b="1" dirty="0">
                <a:ea typeface="+mn-lt"/>
                <a:cs typeface="+mn-lt"/>
              </a:rPr>
              <a:t>Process inefficiency:</a:t>
            </a:r>
            <a:r>
              <a:rPr lang="en-US" sz="1200" dirty="0">
                <a:ea typeface="+mn-lt"/>
                <a:cs typeface="+mn-lt"/>
              </a:rPr>
              <a:t> Relying too much on specialized personnel creates bottlenecks and hinders the transfer of knowledge</a:t>
            </a:r>
          </a:p>
          <a:p>
            <a:pPr marL="215900" lvl="1" indent="-215900">
              <a:lnSpc>
                <a:spcPct val="90000"/>
              </a:lnSpc>
              <a:spcAft>
                <a:spcPts val="200"/>
              </a:spcAft>
            </a:pPr>
            <a:r>
              <a:rPr lang="en-US" sz="1200" b="1" dirty="0">
                <a:ea typeface="+mn-lt"/>
                <a:cs typeface="+mn-lt"/>
              </a:rPr>
              <a:t>Complex system landscape:</a:t>
            </a:r>
            <a:r>
              <a:rPr lang="en-US" sz="1200" dirty="0">
                <a:ea typeface="+mn-lt"/>
                <a:cs typeface="+mn-lt"/>
              </a:rPr>
              <a:t> Processes are distributed among various systems, which complicates seamless integration without considerable investment in user interfaces</a:t>
            </a:r>
          </a:p>
          <a:p>
            <a:pPr marL="215900" lvl="1" indent="-215900">
              <a:lnSpc>
                <a:spcPct val="90000"/>
              </a:lnSpc>
              <a:spcAft>
                <a:spcPts val="200"/>
              </a:spcAft>
              <a:buClr>
                <a:srgbClr val="A01441"/>
              </a:buClr>
            </a:pPr>
            <a:endParaRPr lang="de-DE" sz="1200" dirty="0"/>
          </a:p>
          <a:p>
            <a:pPr marL="215900" lvl="1" indent="-215900">
              <a:lnSpc>
                <a:spcPct val="90000"/>
              </a:lnSpc>
              <a:spcAft>
                <a:spcPts val="200"/>
              </a:spcAft>
            </a:pPr>
            <a:endParaRPr lang="de-DE" sz="1200" dirty="0"/>
          </a:p>
          <a:p>
            <a:pPr marL="285750" indent="-285750">
              <a:lnSpc>
                <a:spcPct val="90000"/>
              </a:lnSpc>
              <a:spcAft>
                <a:spcPts val="200"/>
              </a:spcAft>
              <a:buChar char="•"/>
            </a:pPr>
            <a:endParaRPr lang="de-DE" sz="1400" dirty="0"/>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9" y="1752919"/>
            <a:ext cx="4142568" cy="3424694"/>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Benefits</a:t>
            </a:r>
          </a:p>
          <a:p>
            <a:pPr marL="215900" lvl="1" indent="-215900">
              <a:lnSpc>
                <a:spcPct val="90000"/>
              </a:lnSpc>
              <a:spcAft>
                <a:spcPts val="200"/>
              </a:spcAft>
            </a:pPr>
            <a:r>
              <a:rPr lang="en-US" sz="1200" dirty="0">
                <a:ea typeface="+mn-lt"/>
                <a:cs typeface="+mn-lt"/>
              </a:rPr>
              <a:t>Automatically triage requests and direct </a:t>
            </a:r>
            <a:br>
              <a:rPr lang="en-US" sz="1200" dirty="0">
                <a:ea typeface="+mn-lt"/>
                <a:cs typeface="+mn-lt"/>
              </a:rPr>
            </a:br>
            <a:r>
              <a:rPr lang="en-US" sz="1200" dirty="0">
                <a:ea typeface="+mn-lt"/>
                <a:cs typeface="+mn-lt"/>
              </a:rPr>
              <a:t>urgent cases to the appropriate contact person </a:t>
            </a:r>
            <a:br>
              <a:rPr lang="en-US" sz="1200" dirty="0">
                <a:ea typeface="+mn-lt"/>
                <a:cs typeface="+mn-lt"/>
              </a:rPr>
            </a:br>
            <a:r>
              <a:rPr lang="en-US" sz="1200" dirty="0">
                <a:ea typeface="+mn-lt"/>
                <a:cs typeface="+mn-lt"/>
              </a:rPr>
              <a:t>without delay</a:t>
            </a:r>
          </a:p>
          <a:p>
            <a:pPr marL="215900" lvl="1" indent="-215900">
              <a:lnSpc>
                <a:spcPct val="90000"/>
              </a:lnSpc>
              <a:spcAft>
                <a:spcPts val="200"/>
              </a:spcAft>
            </a:pPr>
            <a:r>
              <a:rPr lang="en-US" sz="1200" dirty="0">
                <a:ea typeface="+mn-lt"/>
                <a:cs typeface="+mn-lt"/>
              </a:rPr>
              <a:t>Centralize all requests, eliminate note-taking, </a:t>
            </a:r>
            <a:br>
              <a:rPr lang="en-US" sz="1200" dirty="0">
                <a:ea typeface="+mn-lt"/>
                <a:cs typeface="+mn-lt"/>
              </a:rPr>
            </a:br>
            <a:r>
              <a:rPr lang="en-US" sz="1200" dirty="0">
                <a:ea typeface="+mn-lt"/>
                <a:cs typeface="+mn-lt"/>
              </a:rPr>
              <a:t>avoid errors, and ensure complete transparency</a:t>
            </a:r>
          </a:p>
          <a:p>
            <a:pPr marL="215900" lvl="1" indent="-215900">
              <a:lnSpc>
                <a:spcPct val="90000"/>
              </a:lnSpc>
              <a:spcAft>
                <a:spcPts val="200"/>
              </a:spcAft>
            </a:pPr>
            <a:r>
              <a:rPr lang="en-US" sz="1200" spc="-10" dirty="0">
                <a:ea typeface="+mn-lt"/>
                <a:cs typeface="+mn-lt"/>
              </a:rPr>
              <a:t>Forms can be easily filled out, applications can be submitted right in the chat, or cases can be logged over the phone</a:t>
            </a:r>
          </a:p>
          <a:p>
            <a:pPr marL="215900" lvl="1" indent="-215900">
              <a:lnSpc>
                <a:spcPct val="90000"/>
              </a:lnSpc>
              <a:spcAft>
                <a:spcPts val="200"/>
              </a:spcAft>
            </a:pPr>
            <a:r>
              <a:rPr lang="en-US" sz="1200" dirty="0">
                <a:ea typeface="+mn-lt"/>
                <a:cs typeface="+mn-lt"/>
              </a:rPr>
              <a:t>Seamless integration into existing processes and systems</a:t>
            </a:r>
          </a:p>
          <a:p>
            <a:pPr marL="215900" lvl="1" indent="-215900">
              <a:lnSpc>
                <a:spcPct val="90000"/>
              </a:lnSpc>
              <a:spcAft>
                <a:spcPts val="200"/>
              </a:spcAft>
            </a:pPr>
            <a:r>
              <a:rPr lang="en-US" sz="1200" dirty="0">
                <a:ea typeface="+mn-lt"/>
                <a:cs typeface="+mn-lt"/>
              </a:rPr>
              <a:t>Maximum security for your data!</a:t>
            </a:r>
            <a:br>
              <a:rPr lang="en-US" sz="1200" dirty="0">
                <a:ea typeface="+mn-lt"/>
                <a:cs typeface="+mn-lt"/>
              </a:rPr>
            </a:br>
            <a:r>
              <a:rPr lang="en-US" sz="1200" dirty="0">
                <a:ea typeface="+mn-lt"/>
                <a:cs typeface="+mn-lt"/>
              </a:rPr>
              <a:t>(FHIR, HL7, ISO27001, ISO9001, GDPR)</a:t>
            </a:r>
          </a:p>
          <a:p>
            <a:pPr marL="215900" lvl="1" indent="-215900">
              <a:lnSpc>
                <a:spcPct val="90000"/>
              </a:lnSpc>
              <a:spcAft>
                <a:spcPts val="200"/>
              </a:spcAft>
            </a:pPr>
            <a:endParaRPr lang="de-DE" sz="1200" dirty="0">
              <a:ea typeface="+mn-lt"/>
              <a:cs typeface="+mn-lt"/>
            </a:endParaRPr>
          </a:p>
          <a:p>
            <a:pPr marL="0" lvl="1" indent="0">
              <a:lnSpc>
                <a:spcPct val="90000"/>
              </a:lnSpc>
              <a:spcAft>
                <a:spcPts val="200"/>
              </a:spcAft>
              <a:buNone/>
            </a:pPr>
            <a:endParaRPr lang="de-DE" sz="1200" dirty="0">
              <a:ea typeface="+mn-lt"/>
              <a:cs typeface="+mn-lt"/>
            </a:endParaRPr>
          </a:p>
          <a:p>
            <a:pPr marL="215900" lvl="1" indent="-215900">
              <a:lnSpc>
                <a:spcPct val="90000"/>
              </a:lnSpc>
              <a:spcAft>
                <a:spcPts val="200"/>
              </a:spcAft>
            </a:pPr>
            <a:endParaRPr lang="de-DE" sz="1200" dirty="0"/>
          </a:p>
          <a:p>
            <a:pPr marL="215900" lvl="1" indent="-215900">
              <a:lnSpc>
                <a:spcPct val="90000"/>
              </a:lnSpc>
              <a:spcAft>
                <a:spcPts val="200"/>
              </a:spcAft>
            </a:pPr>
            <a:endParaRPr lang="de-DE" sz="1200" dirty="0"/>
          </a:p>
          <a:p>
            <a:pPr marL="215900" lvl="1" indent="-215900">
              <a:lnSpc>
                <a:spcPct val="90000"/>
              </a:lnSpc>
              <a:spcAft>
                <a:spcPts val="200"/>
              </a:spcAft>
            </a:pPr>
            <a:endParaRPr lang="de-DE" sz="1200" dirty="0"/>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4093830"/>
            <a:ext cx="4370185" cy="2116271"/>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Our Offering</a:t>
            </a:r>
          </a:p>
          <a:p>
            <a:pPr marL="215900" lvl="1" indent="-215900">
              <a:lnSpc>
                <a:spcPct val="90000"/>
              </a:lnSpc>
              <a:spcAft>
                <a:spcPts val="200"/>
              </a:spcAft>
            </a:pPr>
            <a:r>
              <a:rPr lang="en-US" sz="1200" dirty="0">
                <a:ea typeface="+mn-lt"/>
                <a:cs typeface="+mn-lt"/>
              </a:rPr>
              <a:t>Omnichannel Conversational AI platform for</a:t>
            </a:r>
            <a:br>
              <a:rPr lang="en-US" sz="1200" dirty="0">
                <a:ea typeface="+mn-lt"/>
                <a:cs typeface="+mn-lt"/>
              </a:rPr>
            </a:br>
            <a:r>
              <a:rPr lang="en-US" sz="1200" dirty="0">
                <a:ea typeface="+mn-lt"/>
                <a:cs typeface="+mn-lt"/>
              </a:rPr>
              <a:t>telephony, chat, web app, native app from</a:t>
            </a:r>
            <a:br>
              <a:rPr lang="en-US" sz="1200" dirty="0">
                <a:ea typeface="+mn-lt"/>
                <a:cs typeface="+mn-lt"/>
              </a:rPr>
            </a:br>
            <a:r>
              <a:rPr lang="en-US" sz="1200" dirty="0">
                <a:ea typeface="+mn-lt"/>
                <a:cs typeface="+mn-lt"/>
              </a:rPr>
              <a:t>Germany with BSI C5 certification </a:t>
            </a:r>
            <a:r>
              <a:rPr lang="en-US" sz="1050" dirty="0">
                <a:ea typeface="+mn-lt"/>
                <a:cs typeface="+mn-lt"/>
              </a:rPr>
              <a:t>(exp. from 10/2025)</a:t>
            </a:r>
          </a:p>
          <a:p>
            <a:pPr marL="215900" lvl="1" indent="-215900">
              <a:lnSpc>
                <a:spcPct val="90000"/>
              </a:lnSpc>
              <a:spcAft>
                <a:spcPts val="200"/>
              </a:spcAft>
            </a:pPr>
            <a:r>
              <a:rPr lang="en-US" sz="1200" spc="-30" dirty="0">
                <a:ea typeface="+mn-lt"/>
                <a:cs typeface="+mn-lt"/>
              </a:rPr>
              <a:t>Solution library with use cases from areas such as healthcare, sales and broker management, claims, funding applications, call centers, maintenance, administrative processes, and much more</a:t>
            </a:r>
          </a:p>
          <a:p>
            <a:pPr marL="215900" lvl="1" indent="-215900">
              <a:lnSpc>
                <a:spcPct val="90000"/>
              </a:lnSpc>
              <a:spcAft>
                <a:spcPts val="200"/>
              </a:spcAft>
            </a:pPr>
            <a:r>
              <a:rPr lang="en-US" sz="1200" dirty="0">
                <a:ea typeface="+mn-lt"/>
                <a:cs typeface="+mn-lt"/>
              </a:rPr>
              <a:t>All services from one provider – support, maintenance, and operations in Germany</a:t>
            </a:r>
          </a:p>
          <a:p>
            <a:pPr marL="215900" lvl="1" indent="-215900">
              <a:lnSpc>
                <a:spcPct val="90000"/>
              </a:lnSpc>
              <a:spcAft>
                <a:spcPts val="200"/>
              </a:spcAft>
            </a:pPr>
            <a:r>
              <a:rPr lang="en-US" sz="1200" dirty="0">
                <a:ea typeface="+mn-lt"/>
                <a:cs typeface="+mn-lt"/>
              </a:rPr>
              <a:t>Cloud-agnostic – PaaS, SaaS, or Use Case as a Service</a:t>
            </a:r>
          </a:p>
          <a:p>
            <a:pPr marL="215900" lvl="1" indent="-215900">
              <a:lnSpc>
                <a:spcPct val="90000"/>
              </a:lnSpc>
              <a:spcAft>
                <a:spcPts val="200"/>
              </a:spcAft>
            </a:pPr>
            <a:r>
              <a:rPr lang="en-US" sz="1200" dirty="0">
                <a:ea typeface="+mn-lt"/>
                <a:cs typeface="+mn-lt"/>
              </a:rPr>
              <a:t>White label solution for seamless brand integration</a:t>
            </a:r>
          </a:p>
          <a:p>
            <a:pPr marL="215900" lvl="1" indent="-215900">
              <a:lnSpc>
                <a:spcPct val="90000"/>
              </a:lnSpc>
              <a:spcAft>
                <a:spcPts val="200"/>
              </a:spcAft>
            </a:pPr>
            <a:endParaRPr lang="de-DE" sz="1200" dirty="0"/>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4119231"/>
            <a:ext cx="4216781" cy="1998995"/>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dirty="0"/>
              <a:t>Our Partners and References</a:t>
            </a:r>
          </a:p>
          <a:p>
            <a:pPr marL="215900" lvl="1" indent="-215900">
              <a:lnSpc>
                <a:spcPct val="90000"/>
              </a:lnSpc>
              <a:spcAft>
                <a:spcPts val="200"/>
              </a:spcAft>
            </a:pPr>
            <a:r>
              <a:rPr lang="en-US" sz="1200" spc="-20" dirty="0"/>
              <a:t>Partners: BSI, VÖB, NT AG </a:t>
            </a:r>
            <a:r>
              <a:rPr lang="en-US" sz="1200" spc="-20" dirty="0" err="1"/>
              <a:t>CyberForum</a:t>
            </a:r>
            <a:r>
              <a:rPr lang="en-US" sz="1200" spc="-20" dirty="0"/>
              <a:t>, CCV, </a:t>
            </a:r>
            <a:r>
              <a:rPr lang="en-US" sz="1200" spc="-20" dirty="0" err="1"/>
              <a:t>BITMi</a:t>
            </a:r>
            <a:endParaRPr lang="en-US" sz="1200" spc="-20" dirty="0"/>
          </a:p>
          <a:p>
            <a:pPr marL="215900" lvl="1" indent="-215900">
              <a:lnSpc>
                <a:spcPct val="90000"/>
              </a:lnSpc>
              <a:spcAft>
                <a:spcPts val="200"/>
              </a:spcAft>
            </a:pPr>
            <a:r>
              <a:rPr lang="en-US" sz="1200" dirty="0"/>
              <a:t>KVB: AI phone assistance at the appointment </a:t>
            </a:r>
            <a:br>
              <a:rPr lang="en-US" sz="1200" dirty="0"/>
            </a:br>
            <a:r>
              <a:rPr lang="en-US" sz="1200" dirty="0"/>
              <a:t>service center 116117 helps patients make appointments </a:t>
            </a:r>
          </a:p>
          <a:p>
            <a:pPr marL="215900" lvl="1" indent="-215900">
              <a:lnSpc>
                <a:spcPct val="90000"/>
              </a:lnSpc>
              <a:spcAft>
                <a:spcPts val="200"/>
              </a:spcAft>
            </a:pPr>
            <a:r>
              <a:rPr lang="en-US" sz="1200" dirty="0" err="1"/>
              <a:t>Amedes</a:t>
            </a:r>
            <a:r>
              <a:rPr lang="en-US" sz="1200" dirty="0"/>
              <a:t> Group: AI phone assistance in central customer service and patient calls</a:t>
            </a:r>
          </a:p>
          <a:p>
            <a:pPr marL="215900" lvl="1" indent="-215900">
              <a:lnSpc>
                <a:spcPct val="90000"/>
              </a:lnSpc>
              <a:spcAft>
                <a:spcPts val="200"/>
              </a:spcAft>
            </a:pPr>
            <a:r>
              <a:rPr lang="en-US" sz="1200" dirty="0"/>
              <a:t>Ranger International: AI phone support system designed for smart contract verification and </a:t>
            </a:r>
            <a:r>
              <a:rPr lang="en-US" sz="1200" dirty="0" err="1"/>
              <a:t>SalesBuddy</a:t>
            </a:r>
            <a:r>
              <a:rPr lang="en-US" sz="1200" dirty="0"/>
              <a:t>, providing on-the-spot assistance via iPad – delivering swift responses, pertinent information, and useful aid for daily sales activities.</a:t>
            </a:r>
          </a:p>
        </p:txBody>
      </p:sp>
      <p:pic>
        <p:nvPicPr>
          <p:cNvPr id="4" name="Picture 3">
            <a:extLst>
              <a:ext uri="{FF2B5EF4-FFF2-40B4-BE49-F238E27FC236}">
                <a16:creationId xmlns:a16="http://schemas.microsoft.com/office/drawing/2014/main" id="{0687C6BC-548D-30CE-D92B-706481F8F37D}"/>
              </a:ext>
            </a:extLst>
          </p:cNvPr>
          <p:cNvPicPr>
            <a:picLocks noChangeAspect="1"/>
          </p:cNvPicPr>
          <p:nvPr/>
        </p:nvPicPr>
        <p:blipFill>
          <a:blip r:embed="rId11"/>
          <a:srcRect/>
          <a:stretch/>
        </p:blipFill>
        <p:spPr>
          <a:xfrm>
            <a:off x="10068906" y="2272145"/>
            <a:ext cx="1767151" cy="266875"/>
          </a:xfrm>
          <a:prstGeom prst="rect">
            <a:avLst/>
          </a:prstGeom>
        </p:spPr>
      </p:pic>
      <p:cxnSp>
        <p:nvCxnSpPr>
          <p:cNvPr id="6" name="Gerader Verbinder 19">
            <a:extLst>
              <a:ext uri="{FF2B5EF4-FFF2-40B4-BE49-F238E27FC236}">
                <a16:creationId xmlns:a16="http://schemas.microsoft.com/office/drawing/2014/main" id="{73440E6C-78CD-B0E3-B3C2-2D3D4B22E435}"/>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2" name="Gruppieren 21">
            <a:extLst>
              <a:ext uri="{FF2B5EF4-FFF2-40B4-BE49-F238E27FC236}">
                <a16:creationId xmlns:a16="http://schemas.microsoft.com/office/drawing/2014/main" id="{FD77C05F-DFDB-129C-A269-894CACD6B240}"/>
              </a:ext>
            </a:extLst>
          </p:cNvPr>
          <p:cNvGrpSpPr/>
          <p:nvPr/>
        </p:nvGrpSpPr>
        <p:grpSpPr>
          <a:xfrm>
            <a:off x="4138804" y="1771450"/>
            <a:ext cx="703694" cy="703694"/>
            <a:chOff x="3460071" y="1779904"/>
            <a:chExt cx="869145" cy="869145"/>
          </a:xfrm>
        </p:grpSpPr>
        <p:sp>
          <p:nvSpPr>
            <p:cNvPr id="37" name="Kreis: nicht ausgefüllt 36">
              <a:extLst>
                <a:ext uri="{FF2B5EF4-FFF2-40B4-BE49-F238E27FC236}">
                  <a16:creationId xmlns:a16="http://schemas.microsoft.com/office/drawing/2014/main" id="{EA23BB5F-AA8E-9D7E-C063-59367F8E4800}"/>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8" name="Grafik 37">
              <a:extLst>
                <a:ext uri="{FF2B5EF4-FFF2-40B4-BE49-F238E27FC236}">
                  <a16:creationId xmlns:a16="http://schemas.microsoft.com/office/drawing/2014/main" id="{472A3F13-A949-F051-3D2F-24891E1F1976}"/>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39" name="Gruppieren 38">
            <a:extLst>
              <a:ext uri="{FF2B5EF4-FFF2-40B4-BE49-F238E27FC236}">
                <a16:creationId xmlns:a16="http://schemas.microsoft.com/office/drawing/2014/main" id="{C606CB20-243E-7130-1C93-1FC480C8A6D0}"/>
              </a:ext>
            </a:extLst>
          </p:cNvPr>
          <p:cNvGrpSpPr/>
          <p:nvPr/>
        </p:nvGrpSpPr>
        <p:grpSpPr>
          <a:xfrm>
            <a:off x="8767799" y="3977952"/>
            <a:ext cx="703694" cy="703694"/>
            <a:chOff x="8575325" y="4111833"/>
            <a:chExt cx="869145" cy="869145"/>
          </a:xfrm>
        </p:grpSpPr>
        <p:sp>
          <p:nvSpPr>
            <p:cNvPr id="40" name="Kreis: nicht ausgefüllt 39">
              <a:extLst>
                <a:ext uri="{FF2B5EF4-FFF2-40B4-BE49-F238E27FC236}">
                  <a16:creationId xmlns:a16="http://schemas.microsoft.com/office/drawing/2014/main" id="{6D9023AD-C413-DF49-2D5D-2D4EC90AD074}"/>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1" name="Grafik 40">
              <a:extLst>
                <a:ext uri="{FF2B5EF4-FFF2-40B4-BE49-F238E27FC236}">
                  <a16:creationId xmlns:a16="http://schemas.microsoft.com/office/drawing/2014/main" id="{A6359B7C-6C39-119F-FE3D-44486B26D727}"/>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42" name="Gruppieren 41">
            <a:extLst>
              <a:ext uri="{FF2B5EF4-FFF2-40B4-BE49-F238E27FC236}">
                <a16:creationId xmlns:a16="http://schemas.microsoft.com/office/drawing/2014/main" id="{14AE0269-4C2F-2255-2ABD-9C25B4B55B64}"/>
              </a:ext>
            </a:extLst>
          </p:cNvPr>
          <p:cNvGrpSpPr/>
          <p:nvPr/>
        </p:nvGrpSpPr>
        <p:grpSpPr>
          <a:xfrm>
            <a:off x="4138804" y="3977952"/>
            <a:ext cx="703694" cy="703694"/>
            <a:chOff x="3460071" y="4111833"/>
            <a:chExt cx="869145" cy="869145"/>
          </a:xfrm>
        </p:grpSpPr>
        <p:sp>
          <p:nvSpPr>
            <p:cNvPr id="43" name="Kreis: nicht ausgefüllt 42">
              <a:extLst>
                <a:ext uri="{FF2B5EF4-FFF2-40B4-BE49-F238E27FC236}">
                  <a16:creationId xmlns:a16="http://schemas.microsoft.com/office/drawing/2014/main" id="{28A2F06B-D460-9577-104F-D5DBA252AF74}"/>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4" name="Grafik 43">
              <a:extLst>
                <a:ext uri="{FF2B5EF4-FFF2-40B4-BE49-F238E27FC236}">
                  <a16:creationId xmlns:a16="http://schemas.microsoft.com/office/drawing/2014/main" id="{AF8D5897-E543-7DF7-722F-98C5D3C27B69}"/>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89830" y="4141593"/>
              <a:ext cx="809625" cy="809625"/>
            </a:xfrm>
            <a:prstGeom prst="rect">
              <a:avLst/>
            </a:prstGeom>
          </p:spPr>
        </p:pic>
      </p:grpSp>
      <p:grpSp>
        <p:nvGrpSpPr>
          <p:cNvPr id="45" name="Gruppieren 44">
            <a:extLst>
              <a:ext uri="{FF2B5EF4-FFF2-40B4-BE49-F238E27FC236}">
                <a16:creationId xmlns:a16="http://schemas.microsoft.com/office/drawing/2014/main" id="{A5E68664-6266-A432-E5E9-C9405D355E5A}"/>
              </a:ext>
            </a:extLst>
          </p:cNvPr>
          <p:cNvGrpSpPr/>
          <p:nvPr/>
        </p:nvGrpSpPr>
        <p:grpSpPr>
          <a:xfrm>
            <a:off x="8760780" y="1771450"/>
            <a:ext cx="703694" cy="703694"/>
            <a:chOff x="7459565" y="1779904"/>
            <a:chExt cx="869145" cy="869145"/>
          </a:xfrm>
        </p:grpSpPr>
        <p:sp>
          <p:nvSpPr>
            <p:cNvPr id="46" name="Kreis: nicht ausgefüllt 45">
              <a:extLst>
                <a:ext uri="{FF2B5EF4-FFF2-40B4-BE49-F238E27FC236}">
                  <a16:creationId xmlns:a16="http://schemas.microsoft.com/office/drawing/2014/main" id="{84B97779-C207-D4DE-098F-9A44A9634D9B}"/>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47" name="Grafik 46">
              <a:extLst>
                <a:ext uri="{FF2B5EF4-FFF2-40B4-BE49-F238E27FC236}">
                  <a16:creationId xmlns:a16="http://schemas.microsoft.com/office/drawing/2014/main" id="{48F8DF70-2982-31CC-01C3-6F2337F5AF64}"/>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29130525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67874" y="1781092"/>
            <a:ext cx="2689095"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a:ea typeface="+mn-lt"/>
                <a:cs typeface="+mn-lt"/>
              </a:rPr>
              <a:t>Contact Person</a:t>
            </a:r>
          </a:p>
          <a:p>
            <a:r>
              <a:rPr lang="en-US" sz="1200">
                <a:ea typeface="+mn-lt"/>
                <a:cs typeface="+mn-lt"/>
              </a:rPr>
              <a:t>Holger Hornik</a:t>
            </a:r>
          </a:p>
          <a:p>
            <a:r>
              <a:rPr lang="en-US" sz="1200">
                <a:ea typeface="+mn-lt"/>
                <a:cs typeface="+mn-lt"/>
              </a:rPr>
              <a:t>+49 173 8954169</a:t>
            </a:r>
            <a:br>
              <a:rPr lang="en-US" sz="1200">
                <a:ea typeface="+mn-lt"/>
                <a:cs typeface="+mn-lt"/>
              </a:rPr>
            </a:br>
            <a:r>
              <a:rPr lang="en-US" sz="1200">
                <a:ea typeface="+mn-lt"/>
                <a:cs typeface="+mn-lt"/>
              </a:rPr>
              <a:t>Holger.Hornik@msg.group</a:t>
            </a:r>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en-US"/>
              <a:t>This is what the healthcare heroes of Germany are capable of</a:t>
            </a:r>
            <a:br>
              <a:rPr lang="en-US"/>
            </a:br>
            <a:r>
              <a:rPr lang="en-US" b="1">
                <a:ea typeface="+mn-lt"/>
                <a:cs typeface="+mn-lt"/>
              </a:rPr>
              <a:t>Neohelden: Health-as-a-Service</a:t>
            </a:r>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39</a:t>
            </a:fld>
            <a:endParaRPr lang="de-DE"/>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3" y="1757105"/>
            <a:ext cx="4251741"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Challenge</a:t>
            </a:r>
          </a:p>
          <a:p>
            <a:pPr marL="171450" indent="-171450">
              <a:lnSpc>
                <a:spcPct val="90000"/>
              </a:lnSpc>
              <a:spcAft>
                <a:spcPts val="200"/>
              </a:spcAft>
              <a:buClr>
                <a:srgbClr val="A01441"/>
              </a:buClr>
              <a:buFont typeface="Arial" panose="020B0604020202020204" pitchFamily="34" charset="0"/>
              <a:buChar char="•"/>
            </a:pPr>
            <a:r>
              <a:rPr lang="en-US" sz="1200" dirty="0">
                <a:solidFill>
                  <a:srgbClr val="131313"/>
                </a:solidFill>
                <a:ea typeface="+mn-lt"/>
                <a:cs typeface="+mn-lt"/>
              </a:rPr>
              <a:t>Demographic shifts, increasing patient volumes, </a:t>
            </a:r>
            <a:br>
              <a:rPr lang="en-US" sz="1200" dirty="0">
                <a:solidFill>
                  <a:srgbClr val="131313"/>
                </a:solidFill>
                <a:ea typeface="+mn-lt"/>
                <a:cs typeface="+mn-lt"/>
              </a:rPr>
            </a:br>
            <a:r>
              <a:rPr lang="en-US" sz="1200" dirty="0">
                <a:solidFill>
                  <a:srgbClr val="131313"/>
                </a:solidFill>
                <a:ea typeface="+mn-lt"/>
                <a:cs typeface="+mn-lt"/>
              </a:rPr>
              <a:t>and bureaucratic challenges are straining the </a:t>
            </a:r>
            <a:br>
              <a:rPr lang="en-US" sz="1200" dirty="0">
                <a:solidFill>
                  <a:srgbClr val="131313"/>
                </a:solidFill>
                <a:ea typeface="+mn-lt"/>
                <a:cs typeface="+mn-lt"/>
              </a:rPr>
            </a:br>
            <a:r>
              <a:rPr lang="en-US" sz="1200" dirty="0">
                <a:solidFill>
                  <a:srgbClr val="131313"/>
                </a:solidFill>
                <a:ea typeface="+mn-lt"/>
                <a:cs typeface="+mn-lt"/>
              </a:rPr>
              <a:t>healthcare system </a:t>
            </a:r>
          </a:p>
          <a:p>
            <a:pPr marL="171450" indent="-171450">
              <a:lnSpc>
                <a:spcPct val="90000"/>
              </a:lnSpc>
              <a:spcAft>
                <a:spcPts val="200"/>
              </a:spcAft>
              <a:buClr>
                <a:srgbClr val="A01441"/>
              </a:buClr>
              <a:buFont typeface="Arial" panose="020B0604020202020204" pitchFamily="34" charset="0"/>
              <a:buChar char="•"/>
            </a:pPr>
            <a:r>
              <a:rPr lang="en-US" sz="1200" dirty="0">
                <a:solidFill>
                  <a:srgbClr val="131313"/>
                </a:solidFill>
                <a:ea typeface="+mn-lt"/>
                <a:cs typeface="+mn-lt"/>
              </a:rPr>
              <a:t>Healthcare facilities are overwhelmed, facing staff shortages, limited accessibility, and declining service quality</a:t>
            </a:r>
          </a:p>
          <a:p>
            <a:pPr marL="171450" indent="-171450">
              <a:lnSpc>
                <a:spcPct val="90000"/>
              </a:lnSpc>
              <a:spcAft>
                <a:spcPts val="200"/>
              </a:spcAft>
              <a:buClr>
                <a:srgbClr val="A01441"/>
              </a:buClr>
              <a:buFont typeface="Arial" panose="020B0604020202020204" pitchFamily="34" charset="0"/>
              <a:buChar char="•"/>
            </a:pPr>
            <a:r>
              <a:rPr lang="en-US" sz="1200" dirty="0">
                <a:solidFill>
                  <a:srgbClr val="131313"/>
                </a:solidFill>
                <a:ea typeface="+mn-lt"/>
                <a:cs typeface="+mn-lt"/>
              </a:rPr>
              <a:t>Significant lack of digitization and interruptions in media</a:t>
            </a:r>
          </a:p>
          <a:p>
            <a:pPr marL="171450" indent="-171450">
              <a:lnSpc>
                <a:spcPct val="90000"/>
              </a:lnSpc>
              <a:spcAft>
                <a:spcPts val="200"/>
              </a:spcAft>
              <a:buClr>
                <a:srgbClr val="A01441"/>
              </a:buClr>
              <a:buFont typeface="Arial" panose="020B0604020202020204" pitchFamily="34" charset="0"/>
              <a:buChar char="•"/>
            </a:pPr>
            <a:r>
              <a:rPr lang="en-US" sz="1200" dirty="0">
                <a:solidFill>
                  <a:srgbClr val="131313"/>
                </a:solidFill>
                <a:ea typeface="+mn-lt"/>
                <a:cs typeface="+mn-lt"/>
              </a:rPr>
              <a:t>Job vacancies persist due to a shortage of qualified professionals</a:t>
            </a:r>
          </a:p>
          <a:p>
            <a:pPr marL="171450" indent="-171450">
              <a:lnSpc>
                <a:spcPct val="90000"/>
              </a:lnSpc>
              <a:spcAft>
                <a:spcPts val="200"/>
              </a:spcAft>
              <a:buClr>
                <a:srgbClr val="A01441"/>
              </a:buClr>
              <a:buFont typeface="Arial" panose="020B0604020202020204" pitchFamily="34" charset="0"/>
              <a:buChar char="•"/>
            </a:pPr>
            <a:r>
              <a:rPr lang="en-US" sz="1200" dirty="0">
                <a:solidFill>
                  <a:srgbClr val="131313"/>
                </a:solidFill>
                <a:ea typeface="+mn-lt"/>
                <a:cs typeface="+mn-lt"/>
              </a:rPr>
              <a:t>Language barriers exist between patients and healthcare providers</a:t>
            </a:r>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9" y="1752919"/>
            <a:ext cx="4135670" cy="2628253"/>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Benefits</a:t>
            </a:r>
          </a:p>
          <a:p>
            <a:pPr marL="215900" lvl="1" indent="-215900">
              <a:lnSpc>
                <a:spcPct val="90000"/>
              </a:lnSpc>
              <a:spcAft>
                <a:spcPts val="200"/>
              </a:spcAft>
            </a:pPr>
            <a:r>
              <a:rPr lang="en-US" sz="1200" dirty="0">
                <a:solidFill>
                  <a:srgbClr val="131313"/>
                </a:solidFill>
                <a:ea typeface="+mn-lt"/>
                <a:cs typeface="+mn-lt"/>
              </a:rPr>
              <a:t>Automatically triage calls and direct </a:t>
            </a:r>
            <a:br>
              <a:rPr lang="en-US" sz="1200" dirty="0">
                <a:solidFill>
                  <a:srgbClr val="131313"/>
                </a:solidFill>
                <a:ea typeface="+mn-lt"/>
                <a:cs typeface="+mn-lt"/>
              </a:rPr>
            </a:br>
            <a:r>
              <a:rPr lang="en-US" sz="1200" dirty="0">
                <a:solidFill>
                  <a:srgbClr val="131313"/>
                </a:solidFill>
                <a:ea typeface="+mn-lt"/>
                <a:cs typeface="+mn-lt"/>
              </a:rPr>
              <a:t>urgent cases to the appropriate contact person </a:t>
            </a:r>
            <a:br>
              <a:rPr lang="en-US" sz="1200" dirty="0">
                <a:solidFill>
                  <a:srgbClr val="131313"/>
                </a:solidFill>
                <a:ea typeface="+mn-lt"/>
                <a:cs typeface="+mn-lt"/>
              </a:rPr>
            </a:br>
            <a:r>
              <a:rPr lang="en-US" sz="1200" dirty="0">
                <a:solidFill>
                  <a:srgbClr val="131313"/>
                </a:solidFill>
                <a:ea typeface="+mn-lt"/>
                <a:cs typeface="+mn-lt"/>
              </a:rPr>
              <a:t>without delay</a:t>
            </a:r>
          </a:p>
          <a:p>
            <a:pPr marL="215900" lvl="1" indent="-215900">
              <a:lnSpc>
                <a:spcPct val="90000"/>
              </a:lnSpc>
              <a:spcAft>
                <a:spcPts val="200"/>
              </a:spcAft>
            </a:pPr>
            <a:r>
              <a:rPr lang="en-US" sz="1200" dirty="0">
                <a:solidFill>
                  <a:srgbClr val="131313"/>
                </a:solidFill>
                <a:ea typeface="+mn-lt"/>
                <a:cs typeface="+mn-lt"/>
              </a:rPr>
              <a:t>Effortlessly accept, document, and handle prescription and appointment requests, along with many other tasks, all in a fully automated manner, eliminating any waiting time</a:t>
            </a:r>
          </a:p>
          <a:p>
            <a:pPr marL="215900" lvl="1" indent="-215900">
              <a:lnSpc>
                <a:spcPct val="90000"/>
              </a:lnSpc>
              <a:spcAft>
                <a:spcPts val="200"/>
              </a:spcAft>
            </a:pPr>
            <a:r>
              <a:rPr lang="en-US" sz="1200" dirty="0">
                <a:solidFill>
                  <a:srgbClr val="131313"/>
                </a:solidFill>
                <a:ea typeface="+mn-lt"/>
                <a:cs typeface="+mn-lt"/>
              </a:rPr>
              <a:t>Centralize all requests, eliminate note-taking, </a:t>
            </a:r>
            <a:br>
              <a:rPr lang="en-US" sz="1200" dirty="0">
                <a:solidFill>
                  <a:srgbClr val="131313"/>
                </a:solidFill>
                <a:ea typeface="+mn-lt"/>
                <a:cs typeface="+mn-lt"/>
              </a:rPr>
            </a:br>
            <a:r>
              <a:rPr lang="en-US" sz="1200" dirty="0">
                <a:solidFill>
                  <a:srgbClr val="131313"/>
                </a:solidFill>
                <a:ea typeface="+mn-lt"/>
                <a:cs typeface="+mn-lt"/>
              </a:rPr>
              <a:t>avoid errors, and ensure complete transparency</a:t>
            </a:r>
          </a:p>
          <a:p>
            <a:pPr marL="215900" lvl="1" indent="-215900">
              <a:lnSpc>
                <a:spcPct val="90000"/>
              </a:lnSpc>
              <a:spcAft>
                <a:spcPts val="200"/>
              </a:spcAft>
            </a:pPr>
            <a:r>
              <a:rPr lang="en-US" sz="1200" dirty="0">
                <a:solidFill>
                  <a:srgbClr val="131313"/>
                </a:solidFill>
                <a:ea typeface="+mn-lt"/>
                <a:cs typeface="+mn-lt"/>
              </a:rPr>
              <a:t>Automated handling of transfer slips and psychotherapeutic treatment forms</a:t>
            </a:r>
          </a:p>
          <a:p>
            <a:pPr marL="215900" lvl="1" indent="-215900">
              <a:lnSpc>
                <a:spcPct val="90000"/>
              </a:lnSpc>
              <a:spcAft>
                <a:spcPts val="200"/>
              </a:spcAft>
            </a:pPr>
            <a:r>
              <a:rPr lang="en-US" sz="1200" dirty="0">
                <a:solidFill>
                  <a:srgbClr val="131313"/>
                </a:solidFill>
                <a:ea typeface="+mn-lt"/>
                <a:cs typeface="+mn-lt"/>
              </a:rPr>
              <a:t>Immediate replies to questions through SMS, such as for </a:t>
            </a:r>
            <a:br>
              <a:rPr lang="en-US" sz="1200" dirty="0">
                <a:solidFill>
                  <a:srgbClr val="131313"/>
                </a:solidFill>
                <a:ea typeface="+mn-lt"/>
                <a:cs typeface="+mn-lt"/>
              </a:rPr>
            </a:br>
            <a:r>
              <a:rPr lang="en-US" sz="1200" dirty="0">
                <a:solidFill>
                  <a:srgbClr val="131313"/>
                </a:solidFill>
                <a:ea typeface="+mn-lt"/>
                <a:cs typeface="+mn-lt"/>
              </a:rPr>
              <a:t>e-prescriptions and appointment confirmations</a:t>
            </a: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76058" y="3893193"/>
            <a:ext cx="4370185" cy="1959868"/>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Our Offering</a:t>
            </a:r>
          </a:p>
          <a:p>
            <a:pPr marL="215900" lvl="1" indent="-215900">
              <a:lnSpc>
                <a:spcPct val="90000"/>
              </a:lnSpc>
              <a:spcAft>
                <a:spcPts val="200"/>
              </a:spcAft>
            </a:pPr>
            <a:r>
              <a:rPr lang="en-US" sz="1200" spc="-20" dirty="0">
                <a:solidFill>
                  <a:srgbClr val="131313"/>
                </a:solidFill>
                <a:ea typeface="+mn-lt"/>
                <a:cs typeface="+mn-lt"/>
              </a:rPr>
              <a:t>AI phone assistant – </a:t>
            </a:r>
            <a:br>
              <a:rPr lang="en-US" sz="1200" spc="-20" dirty="0">
                <a:solidFill>
                  <a:srgbClr val="131313"/>
                </a:solidFill>
                <a:ea typeface="+mn-lt"/>
                <a:cs typeface="+mn-lt"/>
              </a:rPr>
            </a:br>
            <a:r>
              <a:rPr lang="en-US" sz="1200" spc="-20" dirty="0">
                <a:solidFill>
                  <a:srgbClr val="131313"/>
                </a:solidFill>
                <a:ea typeface="+mn-lt"/>
                <a:cs typeface="+mn-lt"/>
              </a:rPr>
              <a:t>EXCEPTIONAL. SIMPLE. SECURE.</a:t>
            </a:r>
          </a:p>
          <a:p>
            <a:pPr marL="215900" lvl="1" indent="-215900">
              <a:lnSpc>
                <a:spcPct val="90000"/>
              </a:lnSpc>
              <a:spcAft>
                <a:spcPts val="200"/>
              </a:spcAft>
            </a:pPr>
            <a:r>
              <a:rPr lang="en-US" sz="1200" spc="-30" dirty="0">
                <a:solidFill>
                  <a:srgbClr val="131313"/>
                </a:solidFill>
                <a:ea typeface="+mn-lt"/>
                <a:cs typeface="+mn-lt"/>
              </a:rPr>
              <a:t>No congested lines due to simultaneous call handling</a:t>
            </a:r>
          </a:p>
          <a:p>
            <a:pPr marL="215900" lvl="1" indent="-215900">
              <a:lnSpc>
                <a:spcPct val="90000"/>
              </a:lnSpc>
              <a:spcAft>
                <a:spcPts val="200"/>
              </a:spcAft>
            </a:pPr>
            <a:r>
              <a:rPr lang="en-US" sz="1200" dirty="0">
                <a:solidFill>
                  <a:srgbClr val="131313"/>
                </a:solidFill>
                <a:ea typeface="+mn-lt"/>
                <a:cs typeface="+mn-lt"/>
              </a:rPr>
              <a:t>A ready-made solution offered as PaaS &amp; SaaS for clinics, medical practices, laboratories, public health insurance providers, and private health insurance firms</a:t>
            </a:r>
          </a:p>
          <a:p>
            <a:pPr marL="215900" lvl="1" indent="-215900">
              <a:lnSpc>
                <a:spcPct val="90000"/>
              </a:lnSpc>
              <a:spcAft>
                <a:spcPts val="200"/>
              </a:spcAft>
            </a:pPr>
            <a:r>
              <a:rPr lang="en-US" sz="1200" dirty="0">
                <a:solidFill>
                  <a:srgbClr val="131313"/>
                </a:solidFill>
                <a:ea typeface="+mn-lt"/>
                <a:cs typeface="+mn-lt"/>
              </a:rPr>
              <a:t>Seamless integration into existing processes and systems</a:t>
            </a:r>
          </a:p>
          <a:p>
            <a:pPr marL="215900" lvl="1" indent="-215900">
              <a:lnSpc>
                <a:spcPct val="90000"/>
              </a:lnSpc>
              <a:spcAft>
                <a:spcPts val="200"/>
              </a:spcAft>
            </a:pPr>
            <a:r>
              <a:rPr lang="en-US" sz="1200" dirty="0">
                <a:solidFill>
                  <a:srgbClr val="131313"/>
                </a:solidFill>
                <a:ea typeface="+mn-lt"/>
                <a:cs typeface="+mn-lt"/>
              </a:rPr>
              <a:t>Maximum security for your data!</a:t>
            </a:r>
            <a:br>
              <a:rPr lang="en-US" sz="1200" dirty="0">
                <a:solidFill>
                  <a:srgbClr val="131313"/>
                </a:solidFill>
                <a:ea typeface="+mn-lt"/>
                <a:cs typeface="+mn-lt"/>
              </a:rPr>
            </a:br>
            <a:r>
              <a:rPr lang="en-US" sz="1200" dirty="0">
                <a:solidFill>
                  <a:srgbClr val="131313"/>
                </a:solidFill>
                <a:ea typeface="+mn-lt"/>
                <a:cs typeface="+mn-lt"/>
              </a:rPr>
              <a:t>(ISO27001, ISO9001, C5 certification underway)</a:t>
            </a:r>
          </a:p>
          <a:p>
            <a:pPr marL="215900" lvl="1" indent="-215900">
              <a:lnSpc>
                <a:spcPct val="90000"/>
              </a:lnSpc>
              <a:spcAft>
                <a:spcPts val="200"/>
              </a:spcAft>
            </a:pPr>
            <a:r>
              <a:rPr lang="en-US" sz="1200" dirty="0">
                <a:solidFill>
                  <a:srgbClr val="131313"/>
                </a:solidFill>
                <a:ea typeface="+mn-lt"/>
                <a:cs typeface="+mn-lt"/>
              </a:rPr>
              <a:t>The AI phone assistant aids customers across Germany, handling over 3 million inquiries annually</a:t>
            </a:r>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4233055"/>
            <a:ext cx="4215714" cy="1959868"/>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dirty="0"/>
              <a:t>Our Partners and References</a:t>
            </a:r>
          </a:p>
          <a:p>
            <a:pPr marL="215900" lvl="1" indent="-215900">
              <a:lnSpc>
                <a:spcPct val="90000"/>
              </a:lnSpc>
              <a:spcAft>
                <a:spcPts val="200"/>
              </a:spcAft>
            </a:pPr>
            <a:r>
              <a:rPr lang="en-US" sz="1200" dirty="0"/>
              <a:t>Partners: NT AG, VIER, msg GBH</a:t>
            </a:r>
          </a:p>
          <a:p>
            <a:pPr marL="215900" lvl="1" indent="-215900">
              <a:lnSpc>
                <a:spcPct val="90000"/>
              </a:lnSpc>
              <a:spcAft>
                <a:spcPts val="200"/>
              </a:spcAft>
            </a:pPr>
            <a:r>
              <a:rPr lang="en-US" sz="1200" dirty="0"/>
              <a:t>KVB: AI phone assistance at the appointment </a:t>
            </a:r>
            <a:br>
              <a:rPr lang="en-US" sz="1200" dirty="0"/>
            </a:br>
            <a:r>
              <a:rPr lang="en-US" sz="1200" dirty="0"/>
              <a:t>service center 116117 helps patients </a:t>
            </a:r>
            <a:br>
              <a:rPr lang="en-US" sz="1200" dirty="0"/>
            </a:br>
            <a:r>
              <a:rPr lang="en-US" sz="1200" dirty="0"/>
              <a:t>make appointments </a:t>
            </a:r>
          </a:p>
          <a:p>
            <a:pPr marL="215900" lvl="1" indent="-215900">
              <a:lnSpc>
                <a:spcPct val="90000"/>
              </a:lnSpc>
              <a:spcAft>
                <a:spcPts val="200"/>
              </a:spcAft>
            </a:pPr>
            <a:r>
              <a:rPr lang="en-US" sz="1200" dirty="0" err="1"/>
              <a:t>Amedes</a:t>
            </a:r>
            <a:r>
              <a:rPr lang="en-US" sz="1200" dirty="0"/>
              <a:t> Group: AI phone assistance in central customer service and patient calls</a:t>
            </a:r>
          </a:p>
          <a:p>
            <a:pPr marL="215900" lvl="1" indent="-215900">
              <a:lnSpc>
                <a:spcPct val="90000"/>
              </a:lnSpc>
              <a:spcAft>
                <a:spcPts val="200"/>
              </a:spcAft>
            </a:pPr>
            <a:r>
              <a:rPr lang="en-US" sz="1200" dirty="0"/>
              <a:t>IMD Labor Berlin: AI phone support for arranging sample collection appointments, along with smart call classification and directing calls to internal personnel</a:t>
            </a:r>
          </a:p>
        </p:txBody>
      </p:sp>
      <p:cxnSp>
        <p:nvCxnSpPr>
          <p:cNvPr id="4" name="Gerader Verbinder 19">
            <a:extLst>
              <a:ext uri="{FF2B5EF4-FFF2-40B4-BE49-F238E27FC236}">
                <a16:creationId xmlns:a16="http://schemas.microsoft.com/office/drawing/2014/main" id="{525EE1D7-248D-7399-290A-3A4DB2C87790}"/>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3">
            <a:extLst>
              <a:ext uri="{FF2B5EF4-FFF2-40B4-BE49-F238E27FC236}">
                <a16:creationId xmlns:a16="http://schemas.microsoft.com/office/drawing/2014/main" id="{A8302DC5-C784-F8DF-B91E-AAB33DD721C6}"/>
              </a:ext>
            </a:extLst>
          </p:cNvPr>
          <p:cNvPicPr>
            <a:picLocks noChangeAspect="1"/>
          </p:cNvPicPr>
          <p:nvPr/>
        </p:nvPicPr>
        <p:blipFill>
          <a:blip r:embed="rId11"/>
          <a:srcRect/>
          <a:stretch/>
        </p:blipFill>
        <p:spPr>
          <a:xfrm>
            <a:off x="10068906" y="2272145"/>
            <a:ext cx="1767151" cy="266875"/>
          </a:xfrm>
          <a:prstGeom prst="rect">
            <a:avLst/>
          </a:prstGeom>
        </p:spPr>
      </p:pic>
      <p:grpSp>
        <p:nvGrpSpPr>
          <p:cNvPr id="6" name="Gruppieren 5">
            <a:extLst>
              <a:ext uri="{FF2B5EF4-FFF2-40B4-BE49-F238E27FC236}">
                <a16:creationId xmlns:a16="http://schemas.microsoft.com/office/drawing/2014/main" id="{EFBB454E-4052-6E89-B408-A2BA491649FE}"/>
              </a:ext>
            </a:extLst>
          </p:cNvPr>
          <p:cNvGrpSpPr/>
          <p:nvPr/>
        </p:nvGrpSpPr>
        <p:grpSpPr>
          <a:xfrm>
            <a:off x="4138804" y="1771450"/>
            <a:ext cx="703694" cy="703694"/>
            <a:chOff x="3460071" y="1779904"/>
            <a:chExt cx="869145" cy="869145"/>
          </a:xfrm>
        </p:grpSpPr>
        <p:sp>
          <p:nvSpPr>
            <p:cNvPr id="7" name="Kreis: nicht ausgefüllt 6">
              <a:extLst>
                <a:ext uri="{FF2B5EF4-FFF2-40B4-BE49-F238E27FC236}">
                  <a16:creationId xmlns:a16="http://schemas.microsoft.com/office/drawing/2014/main" id="{336CABAA-99F9-FD80-AA6A-C110438C3F78}"/>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9" name="Grafik 8">
              <a:extLst>
                <a:ext uri="{FF2B5EF4-FFF2-40B4-BE49-F238E27FC236}">
                  <a16:creationId xmlns:a16="http://schemas.microsoft.com/office/drawing/2014/main" id="{22CFEA57-50A6-42A2-D508-C9C9E1F86B7F}"/>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15" name="Gruppieren 14">
            <a:extLst>
              <a:ext uri="{FF2B5EF4-FFF2-40B4-BE49-F238E27FC236}">
                <a16:creationId xmlns:a16="http://schemas.microsoft.com/office/drawing/2014/main" id="{AF71D4E0-2C34-785F-3EDF-72987C487DEF}"/>
              </a:ext>
            </a:extLst>
          </p:cNvPr>
          <p:cNvGrpSpPr/>
          <p:nvPr/>
        </p:nvGrpSpPr>
        <p:grpSpPr>
          <a:xfrm>
            <a:off x="4138804" y="3816990"/>
            <a:ext cx="703694" cy="703694"/>
            <a:chOff x="3460071" y="4111833"/>
            <a:chExt cx="869145" cy="869145"/>
          </a:xfrm>
        </p:grpSpPr>
        <p:sp>
          <p:nvSpPr>
            <p:cNvPr id="17" name="Kreis: nicht ausgefüllt 16">
              <a:extLst>
                <a:ext uri="{FF2B5EF4-FFF2-40B4-BE49-F238E27FC236}">
                  <a16:creationId xmlns:a16="http://schemas.microsoft.com/office/drawing/2014/main" id="{A08E0C01-466C-D38F-6941-C0630B1659A6}"/>
                </a:ext>
              </a:extLst>
            </p:cNvPr>
            <p:cNvSpPr/>
            <p:nvPr>
              <p:custDataLst>
                <p:tags r:id="rId7"/>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8" name="Grafik 17">
              <a:extLst>
                <a:ext uri="{FF2B5EF4-FFF2-40B4-BE49-F238E27FC236}">
                  <a16:creationId xmlns:a16="http://schemas.microsoft.com/office/drawing/2014/main" id="{FC6AF729-5787-0909-D29F-A69BE7456CC3}"/>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89830" y="4141593"/>
              <a:ext cx="809625" cy="809625"/>
            </a:xfrm>
            <a:prstGeom prst="rect">
              <a:avLst/>
            </a:prstGeom>
          </p:spPr>
        </p:pic>
      </p:grpSp>
      <p:grpSp>
        <p:nvGrpSpPr>
          <p:cNvPr id="19" name="Gruppieren 18">
            <a:extLst>
              <a:ext uri="{FF2B5EF4-FFF2-40B4-BE49-F238E27FC236}">
                <a16:creationId xmlns:a16="http://schemas.microsoft.com/office/drawing/2014/main" id="{0B473330-AB38-9577-9FCE-2919ADCE0FE7}"/>
              </a:ext>
            </a:extLst>
          </p:cNvPr>
          <p:cNvGrpSpPr/>
          <p:nvPr/>
        </p:nvGrpSpPr>
        <p:grpSpPr>
          <a:xfrm>
            <a:off x="8760780" y="1771450"/>
            <a:ext cx="703694" cy="703694"/>
            <a:chOff x="7459565" y="1779904"/>
            <a:chExt cx="869145" cy="869145"/>
          </a:xfrm>
        </p:grpSpPr>
        <p:sp>
          <p:nvSpPr>
            <p:cNvPr id="20" name="Kreis: nicht ausgefüllt 19">
              <a:extLst>
                <a:ext uri="{FF2B5EF4-FFF2-40B4-BE49-F238E27FC236}">
                  <a16:creationId xmlns:a16="http://schemas.microsoft.com/office/drawing/2014/main" id="{11E33370-0538-71F8-0897-FE5F4D510C65}"/>
                </a:ext>
              </a:extLst>
            </p:cNvPr>
            <p:cNvSpPr/>
            <p:nvPr>
              <p:custDataLst>
                <p:tags r:id="rId6"/>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1" name="Grafik 20">
              <a:extLst>
                <a:ext uri="{FF2B5EF4-FFF2-40B4-BE49-F238E27FC236}">
                  <a16:creationId xmlns:a16="http://schemas.microsoft.com/office/drawing/2014/main" id="{9BDB92D4-45BB-C70D-9772-49E72A47B289}"/>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7493685" y="1797686"/>
              <a:ext cx="809625" cy="809625"/>
            </a:xfrm>
            <a:prstGeom prst="rect">
              <a:avLst/>
            </a:prstGeom>
          </p:spPr>
        </p:pic>
      </p:grpSp>
      <p:grpSp>
        <p:nvGrpSpPr>
          <p:cNvPr id="22" name="Gruppieren 21">
            <a:extLst>
              <a:ext uri="{FF2B5EF4-FFF2-40B4-BE49-F238E27FC236}">
                <a16:creationId xmlns:a16="http://schemas.microsoft.com/office/drawing/2014/main" id="{C9E769FC-0251-16D4-0186-AC7895CAA454}"/>
              </a:ext>
            </a:extLst>
          </p:cNvPr>
          <p:cNvGrpSpPr/>
          <p:nvPr/>
        </p:nvGrpSpPr>
        <p:grpSpPr>
          <a:xfrm>
            <a:off x="8767799" y="4183850"/>
            <a:ext cx="703694" cy="703694"/>
            <a:chOff x="8575325" y="4111833"/>
            <a:chExt cx="869145" cy="869145"/>
          </a:xfrm>
        </p:grpSpPr>
        <p:sp>
          <p:nvSpPr>
            <p:cNvPr id="37" name="Kreis: nicht ausgefüllt 36">
              <a:extLst>
                <a:ext uri="{FF2B5EF4-FFF2-40B4-BE49-F238E27FC236}">
                  <a16:creationId xmlns:a16="http://schemas.microsoft.com/office/drawing/2014/main" id="{06E7AAFA-302A-FA06-0DAF-F53D4DCFB238}"/>
                </a:ext>
              </a:extLst>
            </p:cNvPr>
            <p:cNvSpPr/>
            <p:nvPr>
              <p:custDataLst>
                <p:tags r:id="rId5"/>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38" name="Grafik 37">
              <a:extLst>
                <a:ext uri="{FF2B5EF4-FFF2-40B4-BE49-F238E27FC236}">
                  <a16:creationId xmlns:a16="http://schemas.microsoft.com/office/drawing/2014/main" id="{60A32172-8747-7111-0241-EC642E736EB3}"/>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8608010" y="4171353"/>
              <a:ext cx="809625" cy="809625"/>
            </a:xfrm>
            <a:prstGeom prst="rect">
              <a:avLst/>
            </a:prstGeom>
          </p:spPr>
        </p:pic>
      </p:grpSp>
    </p:spTree>
    <p:extLst>
      <p:ext uri="{BB962C8B-B14F-4D97-AF65-F5344CB8AC3E}">
        <p14:creationId xmlns:p14="http://schemas.microsoft.com/office/powerpoint/2010/main" val="636102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Ein Bild, das Grün, Farbigkeit, gelb, Wasser enthält.&#10;&#10;Automatisch generierte Beschreibung">
            <a:extLst>
              <a:ext uri="{FF2B5EF4-FFF2-40B4-BE49-F238E27FC236}">
                <a16:creationId xmlns:a16="http://schemas.microsoft.com/office/drawing/2014/main" id="{AC65818F-8B15-C695-96A8-C8A5AF0CDA00}"/>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07"/>
            <a:ext cx="6858002" cy="12236817"/>
          </a:xfrm>
          <a:prstGeom prst="rect">
            <a:avLst/>
          </a:prstGeom>
        </p:spPr>
      </p:pic>
      <p:sp>
        <p:nvSpPr>
          <p:cNvPr id="4" name="Rechteck 3">
            <a:extLst>
              <a:ext uri="{FF2B5EF4-FFF2-40B4-BE49-F238E27FC236}">
                <a16:creationId xmlns:a16="http://schemas.microsoft.com/office/drawing/2014/main" id="{623433FC-4EA1-159E-396B-DAE8358B992D}"/>
              </a:ext>
            </a:extLst>
          </p:cNvPr>
          <p:cNvSpPr/>
          <p:nvPr/>
        </p:nvSpPr>
        <p:spPr>
          <a:xfrm>
            <a:off x="0" y="2721429"/>
            <a:ext cx="12242800" cy="4136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5" name="Diagonal liegende Ecken des Rechtecks abrunden 4">
            <a:extLst>
              <a:ext uri="{FF2B5EF4-FFF2-40B4-BE49-F238E27FC236}">
                <a16:creationId xmlns:a16="http://schemas.microsoft.com/office/drawing/2014/main" id="{6C8E3D4A-4BC7-C393-6031-23BADA7FAEAA}"/>
              </a:ext>
            </a:extLst>
          </p:cNvPr>
          <p:cNvSpPr/>
          <p:nvPr/>
        </p:nvSpPr>
        <p:spPr>
          <a:xfrm flipV="1">
            <a:off x="623888" y="2384425"/>
            <a:ext cx="7233975" cy="2970860"/>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61" name="think-cell data - do not delete" hidden="1">
            <a:extLst>
              <a:ext uri="{FF2B5EF4-FFF2-40B4-BE49-F238E27FC236}">
                <a16:creationId xmlns:a16="http://schemas.microsoft.com/office/drawing/2014/main" id="{A7FA0EB9-E636-3A04-807D-1581C4E898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61" name="think-cell data - do not delete" hidden="1">
                        <a:extLst>
                          <a:ext uri="{FF2B5EF4-FFF2-40B4-BE49-F238E27FC236}">
                            <a16:creationId xmlns:a16="http://schemas.microsoft.com/office/drawing/2014/main" id="{A7FA0EB9-E636-3A04-807D-1581C4E898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extBox 22">
            <a:extLst>
              <a:ext uri="{FF2B5EF4-FFF2-40B4-BE49-F238E27FC236}">
                <a16:creationId xmlns:a16="http://schemas.microsoft.com/office/drawing/2014/main" id="{5233B6BC-A4E7-E3C9-84C6-15BFF053411F}"/>
              </a:ext>
            </a:extLst>
          </p:cNvPr>
          <p:cNvSpPr txBox="1">
            <a:spLocks/>
          </p:cNvSpPr>
          <p:nvPr/>
        </p:nvSpPr>
        <p:spPr>
          <a:xfrm>
            <a:off x="1262172" y="3140425"/>
            <a:ext cx="4394331"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en-US">
                <a:solidFill>
                  <a:schemeClr val="tx1"/>
                </a:solidFill>
              </a:rPr>
              <a:t>Intelligent solutions and IT consulting</a:t>
            </a:r>
          </a:p>
        </p:txBody>
      </p:sp>
      <p:pic>
        <p:nvPicPr>
          <p:cNvPr id="46" name="Grafik 45">
            <a:extLst>
              <a:ext uri="{FF2B5EF4-FFF2-40B4-BE49-F238E27FC236}">
                <a16:creationId xmlns:a16="http://schemas.microsoft.com/office/drawing/2014/main" id="{F422FFEF-3A97-F6EA-FF45-F2850F239DDB}"/>
              </a:ext>
            </a:extLst>
          </p:cNvPr>
          <p:cNvPicPr>
            <a:picLocks noChangeAspect="1"/>
          </p:cNvPicPr>
          <p:nvPr/>
        </p:nvPicPr>
        <p:blipFill rotWithShape="1">
          <a:blip r:embed="rId7"/>
          <a:srcRect t="25313" b="60889"/>
          <a:stretch/>
        </p:blipFill>
        <p:spPr>
          <a:xfrm>
            <a:off x="3610485" y="1274933"/>
            <a:ext cx="6059894" cy="1182833"/>
          </a:xfrm>
          <a:prstGeom prst="rect">
            <a:avLst/>
          </a:prstGeom>
        </p:spPr>
      </p:pic>
      <p:sp>
        <p:nvSpPr>
          <p:cNvPr id="49" name="TextBox 22">
            <a:extLst>
              <a:ext uri="{FF2B5EF4-FFF2-40B4-BE49-F238E27FC236}">
                <a16:creationId xmlns:a16="http://schemas.microsoft.com/office/drawing/2014/main" id="{6DC74FD7-BD25-EA02-EEE2-3A0C6B3EDC6C}"/>
              </a:ext>
            </a:extLst>
          </p:cNvPr>
          <p:cNvSpPr txBox="1">
            <a:spLocks/>
          </p:cNvSpPr>
          <p:nvPr/>
        </p:nvSpPr>
        <p:spPr>
          <a:xfrm>
            <a:off x="1262172" y="3652341"/>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err="1">
                <a:solidFill>
                  <a:schemeClr val="tx1"/>
                </a:solidFill>
              </a:rPr>
              <a:t>Convincing</a:t>
            </a:r>
            <a:r>
              <a:rPr lang="de-DE">
                <a:solidFill>
                  <a:schemeClr val="tx1"/>
                </a:solidFill>
              </a:rPr>
              <a:t> </a:t>
            </a:r>
            <a:r>
              <a:rPr lang="de-DE" err="1">
                <a:solidFill>
                  <a:schemeClr val="tx1"/>
                </a:solidFill>
              </a:rPr>
              <a:t>success</a:t>
            </a:r>
            <a:r>
              <a:rPr lang="de-DE">
                <a:solidFill>
                  <a:schemeClr val="tx1"/>
                </a:solidFill>
              </a:rPr>
              <a:t> </a:t>
            </a:r>
            <a:r>
              <a:rPr lang="de-DE" err="1">
                <a:solidFill>
                  <a:schemeClr val="tx1"/>
                </a:solidFill>
              </a:rPr>
              <a:t>stories</a:t>
            </a:r>
            <a:endParaRPr lang="de-DE">
              <a:solidFill>
                <a:schemeClr val="tx1"/>
              </a:solidFill>
            </a:endParaRPr>
          </a:p>
        </p:txBody>
      </p:sp>
      <p:sp>
        <p:nvSpPr>
          <p:cNvPr id="51" name="TextBox 22">
            <a:extLst>
              <a:ext uri="{FF2B5EF4-FFF2-40B4-BE49-F238E27FC236}">
                <a16:creationId xmlns:a16="http://schemas.microsoft.com/office/drawing/2014/main" id="{B0BEB10C-63DE-1219-FD83-5E98DD7206E2}"/>
              </a:ext>
            </a:extLst>
          </p:cNvPr>
          <p:cNvSpPr txBox="1">
            <a:spLocks/>
          </p:cNvSpPr>
          <p:nvPr/>
        </p:nvSpPr>
        <p:spPr>
          <a:xfrm>
            <a:off x="1262172" y="4154698"/>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err="1">
                <a:solidFill>
                  <a:schemeClr val="tx1"/>
                </a:solidFill>
              </a:rPr>
              <a:t>Our</a:t>
            </a:r>
            <a:r>
              <a:rPr lang="de-DE">
                <a:solidFill>
                  <a:schemeClr val="tx1"/>
                </a:solidFill>
              </a:rPr>
              <a:t> </a:t>
            </a:r>
            <a:r>
              <a:rPr lang="de-DE" err="1">
                <a:solidFill>
                  <a:schemeClr val="tx1"/>
                </a:solidFill>
              </a:rPr>
              <a:t>strengths</a:t>
            </a:r>
            <a:r>
              <a:rPr lang="de-DE">
                <a:solidFill>
                  <a:schemeClr val="tx1"/>
                </a:solidFill>
              </a:rPr>
              <a:t>, </a:t>
            </a:r>
            <a:r>
              <a:rPr lang="de-DE" err="1">
                <a:solidFill>
                  <a:schemeClr val="tx1"/>
                </a:solidFill>
              </a:rPr>
              <a:t>your</a:t>
            </a:r>
            <a:r>
              <a:rPr lang="de-DE">
                <a:solidFill>
                  <a:schemeClr val="tx1"/>
                </a:solidFill>
              </a:rPr>
              <a:t> </a:t>
            </a:r>
            <a:r>
              <a:rPr lang="de-DE" err="1">
                <a:solidFill>
                  <a:schemeClr val="tx1"/>
                </a:solidFill>
              </a:rPr>
              <a:t>benefits</a:t>
            </a:r>
            <a:endParaRPr lang="de-DE">
              <a:solidFill>
                <a:schemeClr val="tx1"/>
              </a:solidFill>
            </a:endParaRPr>
          </a:p>
        </p:txBody>
      </p:sp>
      <p:sp>
        <p:nvSpPr>
          <p:cNvPr id="57" name="TextBox 22">
            <a:extLst>
              <a:ext uri="{FF2B5EF4-FFF2-40B4-BE49-F238E27FC236}">
                <a16:creationId xmlns:a16="http://schemas.microsoft.com/office/drawing/2014/main" id="{838E64A1-C164-FC1E-BB6C-BA5B280B9FD5}"/>
              </a:ext>
            </a:extLst>
          </p:cNvPr>
          <p:cNvSpPr txBox="1">
            <a:spLocks/>
          </p:cNvSpPr>
          <p:nvPr/>
        </p:nvSpPr>
        <p:spPr>
          <a:xfrm>
            <a:off x="1262172" y="2629133"/>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en-US">
                <a:solidFill>
                  <a:schemeClr val="tx1"/>
                </a:solidFill>
              </a:rPr>
              <a:t>The msg group at a glance</a:t>
            </a:r>
          </a:p>
        </p:txBody>
      </p:sp>
      <p:sp>
        <p:nvSpPr>
          <p:cNvPr id="58" name="TextBox 22">
            <a:extLst>
              <a:ext uri="{FF2B5EF4-FFF2-40B4-BE49-F238E27FC236}">
                <a16:creationId xmlns:a16="http://schemas.microsoft.com/office/drawing/2014/main" id="{8C61C2F8-654A-395A-CBE2-F7769D4236AB}"/>
              </a:ext>
            </a:extLst>
          </p:cNvPr>
          <p:cNvSpPr txBox="1">
            <a:spLocks/>
          </p:cNvSpPr>
          <p:nvPr/>
        </p:nvSpPr>
        <p:spPr>
          <a:xfrm>
            <a:off x="1262172" y="4661913"/>
            <a:ext cx="697263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en-US">
                <a:solidFill>
                  <a:schemeClr val="tx1"/>
                </a:solidFill>
              </a:rPr>
              <a:t>Digitalization as the central key to sustainability and ESG</a:t>
            </a:r>
          </a:p>
        </p:txBody>
      </p:sp>
      <p:sp>
        <p:nvSpPr>
          <p:cNvPr id="2" name="Fußzeilenplatzhalter 1">
            <a:extLst>
              <a:ext uri="{FF2B5EF4-FFF2-40B4-BE49-F238E27FC236}">
                <a16:creationId xmlns:a16="http://schemas.microsoft.com/office/drawing/2014/main" id="{D22CAA4B-070F-DA66-3B32-668D72BF4D4D}"/>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3" name="Foliennummernplatzhalter 2">
            <a:extLst>
              <a:ext uri="{FF2B5EF4-FFF2-40B4-BE49-F238E27FC236}">
                <a16:creationId xmlns:a16="http://schemas.microsoft.com/office/drawing/2014/main" id="{D7B1DD39-DE31-9AA2-228C-00741DEAB027}"/>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4</a:t>
            </a:fld>
            <a:endParaRPr lang="de-DE">
              <a:solidFill>
                <a:schemeClr val="bg1"/>
              </a:solidFill>
            </a:endParaRPr>
          </a:p>
        </p:txBody>
      </p:sp>
      <p:sp>
        <p:nvSpPr>
          <p:cNvPr id="16" name="Ellipse 13">
            <a:extLst>
              <a:ext uri="{FF2B5EF4-FFF2-40B4-BE49-F238E27FC236}">
                <a16:creationId xmlns:a16="http://schemas.microsoft.com/office/drawing/2014/main" id="{595DF329-3B3F-0CB2-831D-93CA43AC5D7C}"/>
              </a:ext>
            </a:extLst>
          </p:cNvPr>
          <p:cNvSpPr/>
          <p:nvPr/>
        </p:nvSpPr>
        <p:spPr>
          <a:xfrm>
            <a:off x="790715" y="3154273"/>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2</a:t>
            </a:r>
          </a:p>
        </p:txBody>
      </p:sp>
      <p:sp>
        <p:nvSpPr>
          <p:cNvPr id="37" name="Ellipse 16">
            <a:extLst>
              <a:ext uri="{FF2B5EF4-FFF2-40B4-BE49-F238E27FC236}">
                <a16:creationId xmlns:a16="http://schemas.microsoft.com/office/drawing/2014/main" id="{D8CC3100-318B-9C98-1436-84E05B60BD62}"/>
              </a:ext>
            </a:extLst>
          </p:cNvPr>
          <p:cNvSpPr/>
          <p:nvPr/>
        </p:nvSpPr>
        <p:spPr>
          <a:xfrm>
            <a:off x="790714" y="366295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3</a:t>
            </a:r>
          </a:p>
        </p:txBody>
      </p:sp>
      <p:sp>
        <p:nvSpPr>
          <p:cNvPr id="40" name="Ellipse 19">
            <a:extLst>
              <a:ext uri="{FF2B5EF4-FFF2-40B4-BE49-F238E27FC236}">
                <a16:creationId xmlns:a16="http://schemas.microsoft.com/office/drawing/2014/main" id="{C1622E3A-99D2-C699-7840-258E90B4433E}"/>
              </a:ext>
            </a:extLst>
          </p:cNvPr>
          <p:cNvSpPr/>
          <p:nvPr/>
        </p:nvSpPr>
        <p:spPr>
          <a:xfrm>
            <a:off x="790716" y="4165315"/>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4</a:t>
            </a:r>
          </a:p>
        </p:txBody>
      </p:sp>
      <p:sp>
        <p:nvSpPr>
          <p:cNvPr id="42" name="Ellipse 22">
            <a:extLst>
              <a:ext uri="{FF2B5EF4-FFF2-40B4-BE49-F238E27FC236}">
                <a16:creationId xmlns:a16="http://schemas.microsoft.com/office/drawing/2014/main" id="{73CC2348-9569-6EC4-EED8-F83C32715D6C}"/>
              </a:ext>
            </a:extLst>
          </p:cNvPr>
          <p:cNvSpPr/>
          <p:nvPr/>
        </p:nvSpPr>
        <p:spPr>
          <a:xfrm>
            <a:off x="790716" y="4670766"/>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5</a:t>
            </a:r>
          </a:p>
        </p:txBody>
      </p:sp>
      <p:sp>
        <p:nvSpPr>
          <p:cNvPr id="48" name="Ellipse 13">
            <a:extLst>
              <a:ext uri="{FF2B5EF4-FFF2-40B4-BE49-F238E27FC236}">
                <a16:creationId xmlns:a16="http://schemas.microsoft.com/office/drawing/2014/main" id="{7A60CB0C-F304-44FF-0825-E77380C10E19}"/>
              </a:ext>
            </a:extLst>
          </p:cNvPr>
          <p:cNvSpPr/>
          <p:nvPr/>
        </p:nvSpPr>
        <p:spPr>
          <a:xfrm>
            <a:off x="790714" y="2641865"/>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1</a:t>
            </a:r>
          </a:p>
        </p:txBody>
      </p:sp>
      <p:pic>
        <p:nvPicPr>
          <p:cNvPr id="7" name="Grafik 6">
            <a:extLst>
              <a:ext uri="{FF2B5EF4-FFF2-40B4-BE49-F238E27FC236}">
                <a16:creationId xmlns:a16="http://schemas.microsoft.com/office/drawing/2014/main" id="{8B7D62CA-3746-0DDD-E439-0B28027B22B2}"/>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31130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80078" y="1781092"/>
            <a:ext cx="2676892"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a:ea typeface="+mn-lt"/>
                <a:cs typeface="+mn-lt"/>
              </a:rPr>
              <a:t>Contact Person</a:t>
            </a:r>
          </a:p>
          <a:p>
            <a:r>
              <a:rPr lang="en-US" sz="1200">
                <a:ea typeface="+mn-lt"/>
                <a:cs typeface="+mn-lt"/>
              </a:rPr>
              <a:t>Holger Hornik</a:t>
            </a:r>
          </a:p>
          <a:p>
            <a:r>
              <a:rPr lang="en-US" sz="1200">
                <a:ea typeface="+mn-lt"/>
                <a:cs typeface="+mn-lt"/>
              </a:rPr>
              <a:t>+49 173 8954169</a:t>
            </a:r>
            <a:br>
              <a:rPr lang="en-US" sz="1200">
                <a:ea typeface="+mn-lt"/>
                <a:cs typeface="+mn-lt"/>
              </a:rPr>
            </a:br>
            <a:r>
              <a:rPr lang="en-US" sz="1200">
                <a:ea typeface="+mn-lt"/>
                <a:cs typeface="+mn-lt"/>
              </a:rPr>
              <a:t>Holger.Hornik@msg.group</a:t>
            </a:r>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en-US"/>
              <a:t>Digital funding consulting and completion processes</a:t>
            </a:r>
            <a:br>
              <a:rPr lang="en-US"/>
            </a:br>
            <a:r>
              <a:rPr lang="en-US" b="1">
                <a:ea typeface="+mn-lt"/>
                <a:cs typeface="+mn-lt"/>
              </a:rPr>
              <a:t>Neohelden: SaaS Funding Finder</a:t>
            </a:r>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40</a:t>
            </a:fld>
            <a:endParaRPr lang="de-DE"/>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3" y="1757105"/>
            <a:ext cx="425436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Challenge</a:t>
            </a:r>
          </a:p>
          <a:p>
            <a:pPr marL="171450" indent="-171450">
              <a:lnSpc>
                <a:spcPct val="90000"/>
              </a:lnSpc>
              <a:spcAft>
                <a:spcPts val="200"/>
              </a:spcAft>
              <a:buClr>
                <a:srgbClr val="A01441"/>
              </a:buClr>
              <a:buFont typeface="Arial" panose="020B0604020202020204" pitchFamily="34" charset="0"/>
              <a:buChar char="•"/>
            </a:pPr>
            <a:r>
              <a:rPr lang="en-US" sz="1200" b="1" dirty="0">
                <a:solidFill>
                  <a:srgbClr val="131313"/>
                </a:solidFill>
                <a:ea typeface="+mn-lt"/>
                <a:cs typeface="+mn-lt"/>
              </a:rPr>
              <a:t>Overview of the funding jungle: </a:t>
            </a:r>
            <a:r>
              <a:rPr lang="en-US" sz="1200" dirty="0">
                <a:solidFill>
                  <a:srgbClr val="131313"/>
                </a:solidFill>
                <a:ea typeface="+mn-lt"/>
                <a:cs typeface="+mn-lt"/>
              </a:rPr>
              <a:t>The variety and </a:t>
            </a:r>
            <a:br>
              <a:rPr lang="en-US" sz="1200" dirty="0">
                <a:solidFill>
                  <a:srgbClr val="131313"/>
                </a:solidFill>
                <a:ea typeface="+mn-lt"/>
                <a:cs typeface="+mn-lt"/>
              </a:rPr>
            </a:br>
            <a:r>
              <a:rPr lang="en-US" sz="1200" dirty="0">
                <a:solidFill>
                  <a:srgbClr val="131313"/>
                </a:solidFill>
                <a:ea typeface="+mn-lt"/>
                <a:cs typeface="+mn-lt"/>
              </a:rPr>
              <a:t>intricacy of funding programs create significant </a:t>
            </a:r>
            <a:br>
              <a:rPr lang="en-US" sz="1200" dirty="0">
                <a:solidFill>
                  <a:srgbClr val="131313"/>
                </a:solidFill>
                <a:ea typeface="+mn-lt"/>
                <a:cs typeface="+mn-lt"/>
              </a:rPr>
            </a:br>
            <a:r>
              <a:rPr lang="en-US" sz="1200" dirty="0">
                <a:solidFill>
                  <a:srgbClr val="131313"/>
                </a:solidFill>
                <a:ea typeface="+mn-lt"/>
                <a:cs typeface="+mn-lt"/>
              </a:rPr>
              <a:t>barriers for applicants seeking access</a:t>
            </a:r>
          </a:p>
          <a:p>
            <a:pPr marL="171450" indent="-171450">
              <a:lnSpc>
                <a:spcPct val="90000"/>
              </a:lnSpc>
              <a:spcAft>
                <a:spcPts val="200"/>
              </a:spcAft>
              <a:buClr>
                <a:srgbClr val="A01441"/>
              </a:buClr>
              <a:buFont typeface="Arial" panose="020B0604020202020204" pitchFamily="34" charset="0"/>
              <a:buChar char="•"/>
            </a:pPr>
            <a:r>
              <a:rPr lang="en-US" sz="1200" b="1" dirty="0">
                <a:solidFill>
                  <a:srgbClr val="131313"/>
                </a:solidFill>
                <a:ea typeface="+mn-lt"/>
                <a:cs typeface="+mn-lt"/>
              </a:rPr>
              <a:t>Process inefficiency:</a:t>
            </a:r>
            <a:r>
              <a:rPr lang="en-US" sz="1200" dirty="0">
                <a:solidFill>
                  <a:srgbClr val="131313"/>
                </a:solidFill>
                <a:ea typeface="+mn-lt"/>
                <a:cs typeface="+mn-lt"/>
              </a:rPr>
              <a:t> Relying too much on specialized personnel creates bottlenecks and hinders the transfer of knowledge</a:t>
            </a:r>
          </a:p>
          <a:p>
            <a:pPr marL="215900" lvl="1" indent="-215900">
              <a:lnSpc>
                <a:spcPct val="90000"/>
              </a:lnSpc>
              <a:spcAft>
                <a:spcPts val="200"/>
              </a:spcAft>
            </a:pPr>
            <a:r>
              <a:rPr lang="en-US" sz="1200" b="1" dirty="0">
                <a:solidFill>
                  <a:srgbClr val="131313"/>
                </a:solidFill>
                <a:ea typeface="+mn-lt"/>
                <a:cs typeface="+mn-lt"/>
              </a:rPr>
              <a:t>Complex funding landscape:</a:t>
            </a:r>
            <a:r>
              <a:rPr lang="en-US" sz="1200" dirty="0">
                <a:solidFill>
                  <a:srgbClr val="131313"/>
                </a:solidFill>
                <a:ea typeface="+mn-lt"/>
                <a:cs typeface="+mn-lt"/>
              </a:rPr>
              <a:t> Development banks offer a broad portfolio that is updated monthly. The difficulty lies in the need to consistently consolidate and update these frequently complex funding regulations.</a:t>
            </a:r>
          </a:p>
          <a:p>
            <a:pPr marL="215900" lvl="1" indent="-215900">
              <a:lnSpc>
                <a:spcPct val="90000"/>
              </a:lnSpc>
              <a:spcAft>
                <a:spcPts val="200"/>
              </a:spcAft>
            </a:pPr>
            <a:endParaRPr lang="de-DE" sz="1200" dirty="0"/>
          </a:p>
          <a:p>
            <a:pPr marL="285750" indent="-285750">
              <a:lnSpc>
                <a:spcPct val="90000"/>
              </a:lnSpc>
              <a:spcAft>
                <a:spcPts val="200"/>
              </a:spcAft>
              <a:buChar char="•"/>
            </a:pPr>
            <a:endParaRPr lang="de-DE" sz="1400" dirty="0"/>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9" y="1752919"/>
            <a:ext cx="4227918" cy="250853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Benefits</a:t>
            </a:r>
          </a:p>
          <a:p>
            <a:pPr marL="215900" lvl="1" indent="-215900">
              <a:lnSpc>
                <a:spcPct val="90000"/>
              </a:lnSpc>
              <a:spcAft>
                <a:spcPts val="200"/>
              </a:spcAft>
            </a:pPr>
            <a:r>
              <a:rPr lang="en-US" sz="1200" dirty="0">
                <a:solidFill>
                  <a:srgbClr val="131313"/>
                </a:solidFill>
                <a:ea typeface="+mn-lt"/>
                <a:cs typeface="+mn-lt"/>
              </a:rPr>
              <a:t>The chatbot provides real-time answers to </a:t>
            </a:r>
            <a:br>
              <a:rPr lang="en-US" sz="1200" dirty="0">
                <a:solidFill>
                  <a:srgbClr val="131313"/>
                </a:solidFill>
                <a:ea typeface="+mn-lt"/>
                <a:cs typeface="+mn-lt"/>
              </a:rPr>
            </a:br>
            <a:r>
              <a:rPr lang="en-US" sz="1200" dirty="0">
                <a:solidFill>
                  <a:srgbClr val="131313"/>
                </a:solidFill>
                <a:ea typeface="+mn-lt"/>
                <a:cs typeface="+mn-lt"/>
              </a:rPr>
              <a:t>inquiries regarding funding programs, </a:t>
            </a:r>
            <a:br>
              <a:rPr lang="en-US" sz="1200" dirty="0">
                <a:solidFill>
                  <a:srgbClr val="131313"/>
                </a:solidFill>
                <a:ea typeface="+mn-lt"/>
                <a:cs typeface="+mn-lt"/>
              </a:rPr>
            </a:br>
            <a:r>
              <a:rPr lang="en-US" sz="1200" dirty="0">
                <a:solidFill>
                  <a:srgbClr val="131313"/>
                </a:solidFill>
                <a:ea typeface="+mn-lt"/>
                <a:cs typeface="+mn-lt"/>
              </a:rPr>
              <a:t>available 24/7.</a:t>
            </a:r>
          </a:p>
          <a:p>
            <a:pPr marL="215900" lvl="1" indent="-215900">
              <a:lnSpc>
                <a:spcPct val="90000"/>
              </a:lnSpc>
              <a:spcAft>
                <a:spcPts val="200"/>
              </a:spcAft>
            </a:pPr>
            <a:r>
              <a:rPr lang="en-US" sz="1200" dirty="0">
                <a:solidFill>
                  <a:srgbClr val="131313"/>
                </a:solidFill>
                <a:ea typeface="+mn-lt"/>
                <a:cs typeface="+mn-lt"/>
              </a:rPr>
              <a:t>Users can quickly find appropriate funding options </a:t>
            </a:r>
            <a:br>
              <a:rPr lang="en-US" sz="1200" dirty="0">
                <a:solidFill>
                  <a:srgbClr val="131313"/>
                </a:solidFill>
                <a:ea typeface="+mn-lt"/>
                <a:cs typeface="+mn-lt"/>
              </a:rPr>
            </a:br>
            <a:r>
              <a:rPr lang="en-US" sz="1200" dirty="0">
                <a:solidFill>
                  <a:srgbClr val="131313"/>
                </a:solidFill>
                <a:ea typeface="+mn-lt"/>
                <a:cs typeface="+mn-lt"/>
              </a:rPr>
              <a:t>without the hassle of dealing with complicated search forms or perplexing websites</a:t>
            </a:r>
          </a:p>
          <a:p>
            <a:pPr marL="215900" lvl="1" indent="-215900">
              <a:lnSpc>
                <a:spcPct val="90000"/>
              </a:lnSpc>
              <a:spcAft>
                <a:spcPts val="200"/>
              </a:spcAft>
            </a:pPr>
            <a:r>
              <a:rPr lang="en-US" sz="1200" dirty="0">
                <a:solidFill>
                  <a:srgbClr val="131313"/>
                </a:solidFill>
                <a:ea typeface="+mn-lt"/>
                <a:cs typeface="+mn-lt"/>
              </a:rPr>
              <a:t>Whether through free text input, a guided Q&amp;A format, or menu navigation, the interaction is user-friendly and accessible</a:t>
            </a:r>
          </a:p>
          <a:p>
            <a:pPr marL="215900" lvl="1" indent="-215900">
              <a:lnSpc>
                <a:spcPct val="90000"/>
              </a:lnSpc>
              <a:spcAft>
                <a:spcPts val="200"/>
              </a:spcAft>
            </a:pPr>
            <a:r>
              <a:rPr lang="en-US" sz="1200" dirty="0">
                <a:solidFill>
                  <a:srgbClr val="131313"/>
                </a:solidFill>
                <a:ea typeface="+mn-lt"/>
                <a:cs typeface="+mn-lt"/>
              </a:rPr>
              <a:t>This solution can be seamlessly incorporated into the development bank's website and can also be integrated into additional channels like email, phone, or WhatsApp</a:t>
            </a:r>
          </a:p>
          <a:p>
            <a:pPr marL="215900" lvl="1" indent="-215900">
              <a:lnSpc>
                <a:spcPct val="90000"/>
              </a:lnSpc>
              <a:spcAft>
                <a:spcPts val="200"/>
              </a:spcAft>
            </a:pPr>
            <a:endParaRPr lang="de-DE" sz="1200" dirty="0">
              <a:solidFill>
                <a:srgbClr val="131313"/>
              </a:solidFill>
              <a:latin typeface="Aptos"/>
            </a:endParaRP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3893193"/>
            <a:ext cx="4370185" cy="2116271"/>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Our Offering</a:t>
            </a:r>
          </a:p>
          <a:p>
            <a:pPr marL="215900" lvl="1" indent="-215900">
              <a:lnSpc>
                <a:spcPct val="90000"/>
              </a:lnSpc>
              <a:spcAft>
                <a:spcPts val="200"/>
              </a:spcAft>
            </a:pPr>
            <a:r>
              <a:rPr lang="en-US" sz="1200" dirty="0">
                <a:solidFill>
                  <a:srgbClr val="131313"/>
                </a:solidFill>
                <a:ea typeface="+mn-lt"/>
                <a:cs typeface="+mn-lt"/>
              </a:rPr>
              <a:t>AI-powered funding chatbot designed </a:t>
            </a:r>
            <a:br>
              <a:rPr lang="en-US" sz="1200" dirty="0">
                <a:solidFill>
                  <a:srgbClr val="131313"/>
                </a:solidFill>
                <a:ea typeface="+mn-lt"/>
                <a:cs typeface="+mn-lt"/>
              </a:rPr>
            </a:br>
            <a:r>
              <a:rPr lang="en-US" sz="1200" dirty="0">
                <a:solidFill>
                  <a:srgbClr val="131313"/>
                </a:solidFill>
                <a:ea typeface="+mn-lt"/>
                <a:cs typeface="+mn-lt"/>
              </a:rPr>
              <a:t>as a SaaS solution for development banks</a:t>
            </a:r>
          </a:p>
          <a:p>
            <a:pPr marL="215900" lvl="1" indent="-215900">
              <a:lnSpc>
                <a:spcPct val="90000"/>
              </a:lnSpc>
              <a:spcAft>
                <a:spcPts val="200"/>
              </a:spcAft>
            </a:pPr>
            <a:r>
              <a:rPr lang="en-US" sz="1200" dirty="0">
                <a:solidFill>
                  <a:srgbClr val="131313"/>
                </a:solidFill>
                <a:ea typeface="+mn-lt"/>
                <a:cs typeface="+mn-lt"/>
              </a:rPr>
              <a:t>Funding programs from more than 2,000 active </a:t>
            </a:r>
            <a:br>
              <a:rPr lang="en-US" sz="1200" dirty="0">
                <a:solidFill>
                  <a:srgbClr val="131313"/>
                </a:solidFill>
                <a:ea typeface="+mn-lt"/>
                <a:cs typeface="+mn-lt"/>
              </a:rPr>
            </a:br>
            <a:r>
              <a:rPr lang="en-US" sz="1200" dirty="0">
                <a:solidFill>
                  <a:srgbClr val="131313"/>
                </a:solidFill>
                <a:ea typeface="+mn-lt"/>
                <a:cs typeface="+mn-lt"/>
              </a:rPr>
              <a:t>offers sourced from the EU, federal government, states, and municipalities. Utilizing the well-established </a:t>
            </a:r>
            <a:r>
              <a:rPr lang="en-US" sz="1200" dirty="0" err="1">
                <a:solidFill>
                  <a:srgbClr val="131313"/>
                </a:solidFill>
                <a:ea typeface="+mn-lt"/>
                <a:cs typeface="+mn-lt"/>
              </a:rPr>
              <a:t>safir</a:t>
            </a:r>
            <a:r>
              <a:rPr lang="en-US" sz="1200" dirty="0">
                <a:solidFill>
                  <a:srgbClr val="131313"/>
                </a:solidFill>
                <a:ea typeface="+mn-lt"/>
                <a:cs typeface="+mn-lt"/>
              </a:rPr>
              <a:t>® funding database</a:t>
            </a:r>
          </a:p>
          <a:p>
            <a:pPr marL="215900" lvl="1" indent="-215900">
              <a:lnSpc>
                <a:spcPct val="90000"/>
              </a:lnSpc>
              <a:spcAft>
                <a:spcPts val="200"/>
              </a:spcAft>
            </a:pPr>
            <a:r>
              <a:rPr lang="en-US" sz="1200" dirty="0">
                <a:solidFill>
                  <a:srgbClr val="131313"/>
                </a:solidFill>
                <a:ea typeface="+mn-lt"/>
                <a:cs typeface="+mn-lt"/>
              </a:rPr>
              <a:t>Cutting-edge AI technology to deliver dependable results</a:t>
            </a:r>
          </a:p>
          <a:p>
            <a:pPr marL="215900" lvl="1" indent="-215900">
              <a:lnSpc>
                <a:spcPct val="90000"/>
              </a:lnSpc>
              <a:spcAft>
                <a:spcPts val="200"/>
              </a:spcAft>
            </a:pPr>
            <a:r>
              <a:rPr lang="en-US" sz="1200" dirty="0">
                <a:solidFill>
                  <a:srgbClr val="131313"/>
                </a:solidFill>
                <a:ea typeface="+mn-lt"/>
                <a:cs typeface="+mn-lt"/>
              </a:rPr>
              <a:t>Modernization of digital services and scalable, user-centered funding consulting</a:t>
            </a:r>
          </a:p>
          <a:p>
            <a:pPr marL="215900" lvl="1" indent="-215900">
              <a:lnSpc>
                <a:spcPct val="90000"/>
              </a:lnSpc>
              <a:spcAft>
                <a:spcPts val="200"/>
              </a:spcAft>
            </a:pPr>
            <a:r>
              <a:rPr lang="en-US" sz="1200" dirty="0">
                <a:solidFill>
                  <a:srgbClr val="131313"/>
                </a:solidFill>
                <a:ea typeface="+mn-lt"/>
                <a:cs typeface="+mn-lt"/>
              </a:rPr>
              <a:t>Seamless integration into existing processes and systems</a:t>
            </a:r>
          </a:p>
          <a:p>
            <a:pPr marL="215900" lvl="1" indent="-215900">
              <a:lnSpc>
                <a:spcPct val="90000"/>
              </a:lnSpc>
              <a:spcAft>
                <a:spcPts val="200"/>
              </a:spcAft>
            </a:pPr>
            <a:endParaRPr lang="de-DE" sz="1200" dirty="0">
              <a:solidFill>
                <a:srgbClr val="131313"/>
              </a:solidFill>
              <a:ea typeface="+mn-lt"/>
              <a:cs typeface="+mn-lt"/>
            </a:endParaRPr>
          </a:p>
          <a:p>
            <a:pPr marL="215900" lvl="1" indent="-215900">
              <a:lnSpc>
                <a:spcPct val="90000"/>
              </a:lnSpc>
              <a:spcAft>
                <a:spcPts val="200"/>
              </a:spcAft>
            </a:pPr>
            <a:endParaRPr lang="de-DE" sz="1200" dirty="0">
              <a:solidFill>
                <a:srgbClr val="131313"/>
              </a:solidFill>
            </a:endParaRPr>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4233055"/>
            <a:ext cx="4227918" cy="1323238"/>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dirty="0"/>
              <a:t>Our Partners and References</a:t>
            </a:r>
          </a:p>
          <a:p>
            <a:pPr marL="215900" lvl="1" indent="-215900">
              <a:lnSpc>
                <a:spcPct val="90000"/>
              </a:lnSpc>
              <a:spcAft>
                <a:spcPts val="200"/>
              </a:spcAft>
            </a:pPr>
            <a:r>
              <a:rPr lang="en-US" sz="1200" dirty="0"/>
              <a:t>Partners: VÖB as reseller and provider of the </a:t>
            </a:r>
            <a:br>
              <a:rPr lang="en-US" sz="1200" dirty="0"/>
            </a:br>
            <a:r>
              <a:rPr lang="en-US" sz="1200" dirty="0" err="1"/>
              <a:t>safir</a:t>
            </a:r>
            <a:r>
              <a:rPr lang="en-US" sz="1200" dirty="0"/>
              <a:t>® subsidy database</a:t>
            </a:r>
          </a:p>
          <a:p>
            <a:pPr marL="215900" lvl="1" indent="-215900">
              <a:lnSpc>
                <a:spcPct val="90000"/>
              </a:lnSpc>
              <a:spcAft>
                <a:spcPts val="200"/>
              </a:spcAft>
            </a:pPr>
            <a:r>
              <a:rPr lang="en-US" sz="1200" dirty="0"/>
              <a:t>WI bank: AI chatbot designed for effortless </a:t>
            </a:r>
            <a:br>
              <a:rPr lang="en-US" sz="1200" dirty="0"/>
            </a:br>
            <a:r>
              <a:rPr lang="en-US" sz="1200" dirty="0"/>
              <a:t>searching and discovering personalized funding programs</a:t>
            </a:r>
          </a:p>
          <a:p>
            <a:pPr marL="215900" lvl="1" indent="-215900">
              <a:lnSpc>
                <a:spcPct val="90000"/>
              </a:lnSpc>
              <a:spcAft>
                <a:spcPts val="200"/>
              </a:spcAft>
            </a:pPr>
            <a:r>
              <a:rPr lang="en-US" sz="1200" dirty="0" err="1"/>
              <a:t>Helaba</a:t>
            </a:r>
            <a:r>
              <a:rPr lang="en-US" sz="1200" dirty="0"/>
              <a:t>: AI chatbot designed for effortless searching and </a:t>
            </a:r>
            <a:br>
              <a:rPr lang="en-US" sz="1200" dirty="0"/>
            </a:br>
            <a:r>
              <a:rPr lang="en-US" sz="1200" dirty="0"/>
              <a:t>discovering personalized funding programs</a:t>
            </a:r>
          </a:p>
        </p:txBody>
      </p:sp>
      <p:grpSp>
        <p:nvGrpSpPr>
          <p:cNvPr id="2" name="Gruppieren 1">
            <a:extLst>
              <a:ext uri="{FF2B5EF4-FFF2-40B4-BE49-F238E27FC236}">
                <a16:creationId xmlns:a16="http://schemas.microsoft.com/office/drawing/2014/main" id="{2D7E5C11-6B4C-9910-E20D-EC9B0B78B5FA}"/>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E356A111-9F15-1894-14AA-80A63D7B7D9D}"/>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3" name="Grafik 22">
              <a:extLst>
                <a:ext uri="{FF2B5EF4-FFF2-40B4-BE49-F238E27FC236}">
                  <a16:creationId xmlns:a16="http://schemas.microsoft.com/office/drawing/2014/main" id="{BCFEECF7-2C6B-8CDA-8797-76B09444FDCA}"/>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3496632" y="1796942"/>
              <a:ext cx="809625" cy="809625"/>
            </a:xfrm>
            <a:prstGeom prst="rect">
              <a:avLst/>
            </a:prstGeom>
          </p:spPr>
        </p:pic>
      </p:grpSp>
      <p:cxnSp>
        <p:nvCxnSpPr>
          <p:cNvPr id="4" name="Gerader Verbinder 19">
            <a:extLst>
              <a:ext uri="{FF2B5EF4-FFF2-40B4-BE49-F238E27FC236}">
                <a16:creationId xmlns:a16="http://schemas.microsoft.com/office/drawing/2014/main" id="{400FA872-5B9D-6EC4-C13C-39E2934DDADF}"/>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3">
            <a:extLst>
              <a:ext uri="{FF2B5EF4-FFF2-40B4-BE49-F238E27FC236}">
                <a16:creationId xmlns:a16="http://schemas.microsoft.com/office/drawing/2014/main" id="{EE65C3C9-885C-2F2A-A74F-F269F56CED17}"/>
              </a:ext>
            </a:extLst>
          </p:cNvPr>
          <p:cNvPicPr>
            <a:picLocks noChangeAspect="1"/>
          </p:cNvPicPr>
          <p:nvPr/>
        </p:nvPicPr>
        <p:blipFill>
          <a:blip r:embed="rId12"/>
          <a:srcRect/>
          <a:stretch/>
        </p:blipFill>
        <p:spPr>
          <a:xfrm>
            <a:off x="10068906" y="2272145"/>
            <a:ext cx="1767151" cy="266875"/>
          </a:xfrm>
          <a:prstGeom prst="rect">
            <a:avLst/>
          </a:prstGeom>
        </p:spPr>
      </p:pic>
      <p:grpSp>
        <p:nvGrpSpPr>
          <p:cNvPr id="6" name="Gruppieren 5">
            <a:extLst>
              <a:ext uri="{FF2B5EF4-FFF2-40B4-BE49-F238E27FC236}">
                <a16:creationId xmlns:a16="http://schemas.microsoft.com/office/drawing/2014/main" id="{1A0E29FA-0994-9C2C-C757-99544C6DE502}"/>
              </a:ext>
            </a:extLst>
          </p:cNvPr>
          <p:cNvGrpSpPr/>
          <p:nvPr/>
        </p:nvGrpSpPr>
        <p:grpSpPr>
          <a:xfrm>
            <a:off x="8767799" y="4183850"/>
            <a:ext cx="703694" cy="703694"/>
            <a:chOff x="8575325" y="4111833"/>
            <a:chExt cx="869145" cy="869145"/>
          </a:xfrm>
        </p:grpSpPr>
        <p:sp>
          <p:nvSpPr>
            <p:cNvPr id="7" name="Kreis: nicht ausgefüllt 6">
              <a:extLst>
                <a:ext uri="{FF2B5EF4-FFF2-40B4-BE49-F238E27FC236}">
                  <a16:creationId xmlns:a16="http://schemas.microsoft.com/office/drawing/2014/main" id="{7D29F203-60EE-C860-58BF-2C820DE8F9C0}"/>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9" name="Grafik 8">
              <a:extLst>
                <a:ext uri="{FF2B5EF4-FFF2-40B4-BE49-F238E27FC236}">
                  <a16:creationId xmlns:a16="http://schemas.microsoft.com/office/drawing/2014/main" id="{0D894883-04D8-F776-2CA5-0599EF5EF65B}"/>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10" name="Gruppieren 9">
            <a:extLst>
              <a:ext uri="{FF2B5EF4-FFF2-40B4-BE49-F238E27FC236}">
                <a16:creationId xmlns:a16="http://schemas.microsoft.com/office/drawing/2014/main" id="{28D93096-9B6D-8197-0BA9-25CD12009B6C}"/>
              </a:ext>
            </a:extLst>
          </p:cNvPr>
          <p:cNvGrpSpPr/>
          <p:nvPr/>
        </p:nvGrpSpPr>
        <p:grpSpPr>
          <a:xfrm>
            <a:off x="4138804" y="3816990"/>
            <a:ext cx="703694" cy="703694"/>
            <a:chOff x="3460071" y="4111833"/>
            <a:chExt cx="869145" cy="869145"/>
          </a:xfrm>
        </p:grpSpPr>
        <p:sp>
          <p:nvSpPr>
            <p:cNvPr id="11" name="Kreis: nicht ausgefüllt 10">
              <a:extLst>
                <a:ext uri="{FF2B5EF4-FFF2-40B4-BE49-F238E27FC236}">
                  <a16:creationId xmlns:a16="http://schemas.microsoft.com/office/drawing/2014/main" id="{DF5D79EF-9F40-53DA-BB6C-F665EB5E173C}"/>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3" name="Grafik 12">
              <a:extLst>
                <a:ext uri="{FF2B5EF4-FFF2-40B4-BE49-F238E27FC236}">
                  <a16:creationId xmlns:a16="http://schemas.microsoft.com/office/drawing/2014/main" id="{94BEEC4F-50AA-7918-5BA5-59D2C1C7FAD3}"/>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368172F3-1C2D-3A4E-884C-117DA8ABB662}"/>
              </a:ext>
            </a:extLst>
          </p:cNvPr>
          <p:cNvGrpSpPr/>
          <p:nvPr/>
        </p:nvGrpSpPr>
        <p:grpSpPr>
          <a:xfrm>
            <a:off x="8760780" y="1771450"/>
            <a:ext cx="703694" cy="703694"/>
            <a:chOff x="7459565" y="1779904"/>
            <a:chExt cx="869145" cy="869145"/>
          </a:xfrm>
        </p:grpSpPr>
        <p:sp>
          <p:nvSpPr>
            <p:cNvPr id="19" name="Kreis: nicht ausgefüllt 18">
              <a:extLst>
                <a:ext uri="{FF2B5EF4-FFF2-40B4-BE49-F238E27FC236}">
                  <a16:creationId xmlns:a16="http://schemas.microsoft.com/office/drawing/2014/main" id="{BE47B6BE-FA28-594A-EAC4-2D868DFD0328}"/>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0" name="Grafik 19">
              <a:extLst>
                <a:ext uri="{FF2B5EF4-FFF2-40B4-BE49-F238E27FC236}">
                  <a16:creationId xmlns:a16="http://schemas.microsoft.com/office/drawing/2014/main" id="{29314C4F-6658-74E3-C3A9-A6FD017A9A55}"/>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10811923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E6C98-87A5-43BC-4D52-6FF7CCD30CF9}"/>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7397DEA8-B86F-7079-D4B9-CE50FB379AEF}"/>
              </a:ext>
            </a:extLst>
          </p:cNvPr>
          <p:cNvSpPr/>
          <p:nvPr/>
        </p:nvSpPr>
        <p:spPr>
          <a:xfrm>
            <a:off x="9671369" y="1781092"/>
            <a:ext cx="2685600" cy="4311733"/>
          </a:xfrm>
          <a:prstGeom prst="round2DiagRect">
            <a:avLst>
              <a:gd name="adj1" fmla="val 0"/>
              <a:gd name="adj2" fmla="val 4143"/>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a:ea typeface="+mn-lt"/>
                <a:cs typeface="+mn-lt"/>
              </a:rPr>
              <a:t>Contact Person</a:t>
            </a:r>
          </a:p>
          <a:p>
            <a:r>
              <a:rPr lang="en-US" sz="1200">
                <a:ea typeface="+mn-lt"/>
                <a:cs typeface="+mn-lt"/>
              </a:rPr>
              <a:t>Holger Hornik</a:t>
            </a:r>
          </a:p>
          <a:p>
            <a:r>
              <a:rPr lang="en-US" sz="1200">
                <a:ea typeface="+mn-lt"/>
                <a:cs typeface="+mn-lt"/>
              </a:rPr>
              <a:t>+49 173 8954169</a:t>
            </a:r>
            <a:br>
              <a:rPr lang="en-US" sz="1200">
                <a:ea typeface="+mn-lt"/>
                <a:cs typeface="+mn-lt"/>
              </a:rPr>
            </a:br>
            <a:r>
              <a:rPr lang="en-US" sz="1200">
                <a:ea typeface="+mn-lt"/>
                <a:cs typeface="+mn-lt"/>
              </a:rPr>
              <a:t>Holger.Hornik@msg.group</a:t>
            </a:r>
          </a:p>
        </p:txBody>
      </p:sp>
      <p:sp>
        <p:nvSpPr>
          <p:cNvPr id="12" name="Titel 5">
            <a:extLst>
              <a:ext uri="{FF2B5EF4-FFF2-40B4-BE49-F238E27FC236}">
                <a16:creationId xmlns:a16="http://schemas.microsoft.com/office/drawing/2014/main" id="{0AECB2D7-EF26-32D7-92F5-AC9BBC7F9C5E}"/>
              </a:ext>
            </a:extLst>
          </p:cNvPr>
          <p:cNvSpPr>
            <a:spLocks noGrp="1"/>
          </p:cNvSpPr>
          <p:nvPr>
            <p:ph type="title"/>
          </p:nvPr>
        </p:nvSpPr>
        <p:spPr>
          <a:xfrm>
            <a:off x="649008" y="620713"/>
            <a:ext cx="9807031" cy="738664"/>
          </a:xfrm>
        </p:spPr>
        <p:txBody>
          <a:bodyPr vert="horz"/>
          <a:lstStyle/>
          <a:p>
            <a:r>
              <a:rPr lang="en-US"/>
              <a:t>Innovative sales facilitator</a:t>
            </a:r>
            <a:br>
              <a:rPr lang="en-US"/>
            </a:br>
            <a:r>
              <a:rPr lang="en-US" b="1">
                <a:ea typeface="+mn-lt"/>
                <a:cs typeface="+mn-lt"/>
              </a:rPr>
              <a:t>Neohelden: Sales Buddy</a:t>
            </a:r>
          </a:p>
        </p:txBody>
      </p:sp>
      <p:sp>
        <p:nvSpPr>
          <p:cNvPr id="14" name="Fußzeilenplatzhalter 1">
            <a:extLst>
              <a:ext uri="{FF2B5EF4-FFF2-40B4-BE49-F238E27FC236}">
                <a16:creationId xmlns:a16="http://schemas.microsoft.com/office/drawing/2014/main" id="{168CFF42-91D3-67DE-CB4B-DF8F41C6641E}"/>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C270EAED-AF55-1F6F-6EB6-E556BE67BB38}"/>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41</a:t>
            </a:fld>
            <a:endParaRPr lang="de-DE"/>
          </a:p>
        </p:txBody>
      </p:sp>
      <p:sp>
        <p:nvSpPr>
          <p:cNvPr id="24" name="Textfeld 23">
            <a:extLst>
              <a:ext uri="{FF2B5EF4-FFF2-40B4-BE49-F238E27FC236}">
                <a16:creationId xmlns:a16="http://schemas.microsoft.com/office/drawing/2014/main" id="{391BCE87-5D2D-90FA-9F6F-E5C39D2CFCBA}"/>
              </a:ext>
            </a:extLst>
          </p:cNvPr>
          <p:cNvSpPr txBox="1"/>
          <p:nvPr>
            <p:custDataLst>
              <p:tags r:id="rId1"/>
            </p:custDataLst>
          </p:nvPr>
        </p:nvSpPr>
        <p:spPr>
          <a:xfrm>
            <a:off x="653193" y="1757105"/>
            <a:ext cx="425436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Challenge</a:t>
            </a:r>
          </a:p>
          <a:p>
            <a:pPr marL="171450" indent="-171450">
              <a:lnSpc>
                <a:spcPct val="90000"/>
              </a:lnSpc>
              <a:spcAft>
                <a:spcPts val="200"/>
              </a:spcAft>
              <a:buClr>
                <a:srgbClr val="A01441"/>
              </a:buClr>
              <a:buFont typeface="Arial" panose="020B0604020202020204" pitchFamily="34" charset="0"/>
              <a:buChar char="•"/>
            </a:pPr>
            <a:r>
              <a:rPr lang="en-US" sz="1200" b="1" spc="-20" dirty="0">
                <a:solidFill>
                  <a:srgbClr val="131313"/>
                </a:solidFill>
                <a:ea typeface="+mn-lt"/>
                <a:cs typeface="+mn-lt"/>
              </a:rPr>
              <a:t>Access to expert knowledge and product details:</a:t>
            </a:r>
            <a:br>
              <a:rPr lang="en-US" sz="1200" spc="-20" dirty="0">
                <a:solidFill>
                  <a:srgbClr val="131313"/>
                </a:solidFill>
                <a:ea typeface="+mn-lt"/>
                <a:cs typeface="+mn-lt"/>
              </a:rPr>
            </a:br>
            <a:r>
              <a:rPr lang="en-US" sz="1200" dirty="0">
                <a:solidFill>
                  <a:srgbClr val="131313"/>
                </a:solidFill>
                <a:ea typeface="+mn-lt"/>
                <a:cs typeface="+mn-lt"/>
              </a:rPr>
              <a:t>Outdated documents, perplexing PDFs and a </a:t>
            </a:r>
            <a:br>
              <a:rPr lang="en-US" sz="1200" dirty="0">
                <a:solidFill>
                  <a:srgbClr val="131313"/>
                </a:solidFill>
                <a:ea typeface="+mn-lt"/>
                <a:cs typeface="+mn-lt"/>
              </a:rPr>
            </a:br>
            <a:r>
              <a:rPr lang="en-US" sz="1200" dirty="0">
                <a:solidFill>
                  <a:srgbClr val="131313"/>
                </a:solidFill>
                <a:ea typeface="+mn-lt"/>
                <a:cs typeface="+mn-lt"/>
              </a:rPr>
              <a:t>decline in expertise due to demographic changes</a:t>
            </a:r>
          </a:p>
          <a:p>
            <a:pPr marL="171450" indent="-171450">
              <a:lnSpc>
                <a:spcPct val="90000"/>
              </a:lnSpc>
              <a:spcAft>
                <a:spcPts val="200"/>
              </a:spcAft>
              <a:buClr>
                <a:srgbClr val="A01441"/>
              </a:buClr>
              <a:buFont typeface="Arial" panose="020B0604020202020204" pitchFamily="34" charset="0"/>
              <a:buChar char="•"/>
            </a:pPr>
            <a:r>
              <a:rPr lang="en-US" sz="1200" b="1" dirty="0">
                <a:solidFill>
                  <a:srgbClr val="131313"/>
                </a:solidFill>
                <a:ea typeface="+mn-lt"/>
                <a:cs typeface="+mn-lt"/>
              </a:rPr>
              <a:t>Searching for information in customer meetings:</a:t>
            </a:r>
            <a:r>
              <a:rPr lang="en-US" sz="1200" dirty="0">
                <a:solidFill>
                  <a:srgbClr val="131313"/>
                </a:solidFill>
                <a:ea typeface="+mn-lt"/>
                <a:cs typeface="+mn-lt"/>
              </a:rPr>
              <a:t> </a:t>
            </a:r>
            <a:br>
              <a:rPr lang="en-US" sz="1200" dirty="0">
                <a:solidFill>
                  <a:srgbClr val="131313"/>
                </a:solidFill>
                <a:ea typeface="+mn-lt"/>
                <a:cs typeface="+mn-lt"/>
              </a:rPr>
            </a:br>
            <a:r>
              <a:rPr lang="en-US" sz="1200" dirty="0">
                <a:solidFill>
                  <a:srgbClr val="131313"/>
                </a:solidFill>
                <a:ea typeface="+mn-lt"/>
                <a:cs typeface="+mn-lt"/>
              </a:rPr>
              <a:t>Significant time is wasted in customer meetings because of manual searches</a:t>
            </a:r>
          </a:p>
          <a:p>
            <a:pPr marL="171450" indent="-171450">
              <a:lnSpc>
                <a:spcPct val="90000"/>
              </a:lnSpc>
              <a:spcAft>
                <a:spcPts val="200"/>
              </a:spcAft>
              <a:buClr>
                <a:srgbClr val="A01441"/>
              </a:buClr>
              <a:buFont typeface="Arial" panose="020B0604020202020204" pitchFamily="34" charset="0"/>
              <a:buChar char="•"/>
            </a:pPr>
            <a:r>
              <a:rPr lang="en-US" sz="1200" b="1" dirty="0">
                <a:solidFill>
                  <a:srgbClr val="131313"/>
                </a:solidFill>
                <a:ea typeface="+mn-lt"/>
                <a:cs typeface="+mn-lt"/>
              </a:rPr>
              <a:t>Variations in quality and knowledge: </a:t>
            </a:r>
            <a:r>
              <a:rPr lang="en-US" sz="1200" dirty="0">
                <a:solidFill>
                  <a:srgbClr val="131313"/>
                </a:solidFill>
                <a:ea typeface="+mn-lt"/>
                <a:cs typeface="+mn-lt"/>
              </a:rPr>
              <a:t>New or less experienced staff have knowledge gaps, resulting in inconsistencies in the customer experience</a:t>
            </a:r>
          </a:p>
          <a:p>
            <a:pPr marL="285750" indent="-285750">
              <a:lnSpc>
                <a:spcPct val="90000"/>
              </a:lnSpc>
              <a:spcAft>
                <a:spcPts val="200"/>
              </a:spcAft>
              <a:buChar char="•"/>
            </a:pPr>
            <a:endParaRPr lang="de-DE" sz="1400" dirty="0"/>
          </a:p>
        </p:txBody>
      </p:sp>
      <p:sp>
        <p:nvSpPr>
          <p:cNvPr id="26" name="Textfeld 25">
            <a:extLst>
              <a:ext uri="{FF2B5EF4-FFF2-40B4-BE49-F238E27FC236}">
                <a16:creationId xmlns:a16="http://schemas.microsoft.com/office/drawing/2014/main" id="{5C28FAB2-3D2F-28CE-1747-B6342B756E4A}"/>
              </a:ext>
            </a:extLst>
          </p:cNvPr>
          <p:cNvSpPr txBox="1"/>
          <p:nvPr>
            <p:custDataLst>
              <p:tags r:id="rId2"/>
            </p:custDataLst>
          </p:nvPr>
        </p:nvSpPr>
        <p:spPr>
          <a:xfrm>
            <a:off x="5227128" y="1752919"/>
            <a:ext cx="3984605" cy="2508530"/>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Your Benefits</a:t>
            </a:r>
          </a:p>
          <a:p>
            <a:pPr marL="215900" lvl="1" indent="-215900">
              <a:lnSpc>
                <a:spcPct val="90000"/>
              </a:lnSpc>
              <a:spcAft>
                <a:spcPts val="200"/>
              </a:spcAft>
            </a:pPr>
            <a:r>
              <a:rPr lang="en-US" sz="1200" dirty="0">
                <a:solidFill>
                  <a:srgbClr val="131313"/>
                </a:solidFill>
                <a:ea typeface="+mn-lt"/>
                <a:cs typeface="+mn-lt"/>
              </a:rPr>
              <a:t>Utilizing sophisticated natural language </a:t>
            </a:r>
            <a:br>
              <a:rPr lang="en-US" sz="1200" dirty="0">
                <a:solidFill>
                  <a:srgbClr val="131313"/>
                </a:solidFill>
                <a:ea typeface="+mn-lt"/>
                <a:cs typeface="+mn-lt"/>
              </a:rPr>
            </a:br>
            <a:r>
              <a:rPr lang="en-US" sz="1200" dirty="0">
                <a:solidFill>
                  <a:srgbClr val="131313"/>
                </a:solidFill>
                <a:ea typeface="+mn-lt"/>
                <a:cs typeface="+mn-lt"/>
              </a:rPr>
              <a:t>processing capabilities, complex queries can </a:t>
            </a:r>
            <a:br>
              <a:rPr lang="en-US" sz="1200" dirty="0">
                <a:solidFill>
                  <a:srgbClr val="131313"/>
                </a:solidFill>
                <a:ea typeface="+mn-lt"/>
                <a:cs typeface="+mn-lt"/>
              </a:rPr>
            </a:br>
            <a:r>
              <a:rPr lang="en-US" sz="1200" dirty="0">
                <a:solidFill>
                  <a:srgbClr val="131313"/>
                </a:solidFill>
                <a:ea typeface="+mn-lt"/>
                <a:cs typeface="+mn-lt"/>
              </a:rPr>
              <a:t>be understood and handled</a:t>
            </a:r>
          </a:p>
          <a:p>
            <a:pPr marL="215900" lvl="1" indent="-215900">
              <a:lnSpc>
                <a:spcPct val="90000"/>
              </a:lnSpc>
              <a:spcAft>
                <a:spcPts val="200"/>
              </a:spcAft>
            </a:pPr>
            <a:r>
              <a:rPr lang="en-US" sz="1200" dirty="0"/>
              <a:t>Provision of comprehensive and pertinent information</a:t>
            </a:r>
          </a:p>
          <a:p>
            <a:pPr marL="215900" lvl="1" indent="-215900">
              <a:lnSpc>
                <a:spcPct val="90000"/>
              </a:lnSpc>
              <a:spcAft>
                <a:spcPts val="200"/>
              </a:spcAft>
            </a:pPr>
            <a:r>
              <a:rPr lang="en-US" sz="1200" dirty="0">
                <a:solidFill>
                  <a:srgbClr val="131313"/>
                </a:solidFill>
                <a:ea typeface="+mn-lt"/>
                <a:cs typeface="+mn-lt"/>
              </a:rPr>
              <a:t>Access across devices anytime, day or night</a:t>
            </a:r>
          </a:p>
          <a:p>
            <a:pPr marL="215900" lvl="1" indent="-215900">
              <a:lnSpc>
                <a:spcPct val="90000"/>
              </a:lnSpc>
              <a:spcAft>
                <a:spcPts val="200"/>
              </a:spcAft>
            </a:pPr>
            <a:r>
              <a:rPr lang="en-US" sz="1200" dirty="0">
                <a:solidFill>
                  <a:srgbClr val="131313"/>
                </a:solidFill>
                <a:ea typeface="+mn-lt"/>
                <a:cs typeface="+mn-lt"/>
              </a:rPr>
              <a:t>Enhanced efficiency and better quality of customer service</a:t>
            </a:r>
          </a:p>
        </p:txBody>
      </p:sp>
      <p:sp>
        <p:nvSpPr>
          <p:cNvPr id="28" name="Textfeld 27">
            <a:extLst>
              <a:ext uri="{FF2B5EF4-FFF2-40B4-BE49-F238E27FC236}">
                <a16:creationId xmlns:a16="http://schemas.microsoft.com/office/drawing/2014/main" id="{4F6348FE-F848-E434-51BD-123839BE7104}"/>
              </a:ext>
            </a:extLst>
          </p:cNvPr>
          <p:cNvSpPr txBox="1"/>
          <p:nvPr>
            <p:custDataLst>
              <p:tags r:id="rId3"/>
            </p:custDataLst>
          </p:nvPr>
        </p:nvSpPr>
        <p:spPr>
          <a:xfrm>
            <a:off x="653195" y="3982187"/>
            <a:ext cx="3972899" cy="2116271"/>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sz="1400" b="1" dirty="0"/>
              <a:t>Our Offering</a:t>
            </a:r>
          </a:p>
          <a:p>
            <a:pPr marL="215900" lvl="1" indent="-215900">
              <a:lnSpc>
                <a:spcPct val="90000"/>
              </a:lnSpc>
              <a:spcAft>
                <a:spcPts val="200"/>
              </a:spcAft>
            </a:pPr>
            <a:r>
              <a:rPr lang="en-US" sz="1200" dirty="0">
                <a:solidFill>
                  <a:srgbClr val="131313"/>
                </a:solidFill>
                <a:ea typeface="+mn-lt"/>
                <a:cs typeface="+mn-lt"/>
              </a:rPr>
              <a:t>Sales Buddy is a contemporary and flexible </a:t>
            </a:r>
            <a:br>
              <a:rPr lang="en-US" sz="1200" dirty="0">
                <a:solidFill>
                  <a:srgbClr val="131313"/>
                </a:solidFill>
                <a:ea typeface="+mn-lt"/>
                <a:cs typeface="+mn-lt"/>
              </a:rPr>
            </a:br>
            <a:r>
              <a:rPr lang="en-US" sz="1200" dirty="0">
                <a:solidFill>
                  <a:srgbClr val="131313"/>
                </a:solidFill>
                <a:ea typeface="+mn-lt"/>
                <a:cs typeface="+mn-lt"/>
              </a:rPr>
              <a:t>solution that enables sales personnel to efficiently </a:t>
            </a:r>
            <a:br>
              <a:rPr lang="en-US" sz="1200" dirty="0">
                <a:solidFill>
                  <a:srgbClr val="131313"/>
                </a:solidFill>
                <a:ea typeface="+mn-lt"/>
                <a:cs typeface="+mn-lt"/>
              </a:rPr>
            </a:br>
            <a:r>
              <a:rPr lang="en-US" sz="1200" dirty="0">
                <a:solidFill>
                  <a:srgbClr val="131313"/>
                </a:solidFill>
                <a:ea typeface="+mn-lt"/>
                <a:cs typeface="+mn-lt"/>
              </a:rPr>
              <a:t>and easily access company-specific knowledge and utilize it across various channels</a:t>
            </a:r>
          </a:p>
          <a:p>
            <a:pPr marL="215900" lvl="1" indent="-215900">
              <a:lnSpc>
                <a:spcPct val="90000"/>
              </a:lnSpc>
              <a:spcAft>
                <a:spcPts val="200"/>
              </a:spcAft>
            </a:pPr>
            <a:r>
              <a:rPr lang="en-US" sz="1200" dirty="0">
                <a:solidFill>
                  <a:srgbClr val="131313"/>
                </a:solidFill>
                <a:ea typeface="+mn-lt"/>
                <a:cs typeface="+mn-lt"/>
              </a:rPr>
              <a:t>Secure AI technology to deliver dependable results</a:t>
            </a:r>
          </a:p>
          <a:p>
            <a:pPr marL="215900" lvl="1" indent="-215900">
              <a:lnSpc>
                <a:spcPct val="90000"/>
              </a:lnSpc>
              <a:spcAft>
                <a:spcPts val="200"/>
              </a:spcAft>
            </a:pPr>
            <a:r>
              <a:rPr lang="en-US" sz="1200" dirty="0">
                <a:solidFill>
                  <a:srgbClr val="131313"/>
                </a:solidFill>
                <a:ea typeface="+mn-lt"/>
                <a:cs typeface="+mn-lt"/>
              </a:rPr>
              <a:t>Seamless integration into existing processes and systems</a:t>
            </a:r>
          </a:p>
          <a:p>
            <a:pPr marL="215900" lvl="1" indent="-215900">
              <a:lnSpc>
                <a:spcPct val="90000"/>
              </a:lnSpc>
              <a:spcAft>
                <a:spcPts val="200"/>
              </a:spcAft>
            </a:pPr>
            <a:endParaRPr lang="de-DE" sz="1200" dirty="0">
              <a:solidFill>
                <a:srgbClr val="131313"/>
              </a:solidFill>
              <a:ea typeface="+mn-lt"/>
              <a:cs typeface="+mn-lt"/>
            </a:endParaRPr>
          </a:p>
          <a:p>
            <a:pPr marL="215900" lvl="1" indent="-215900">
              <a:lnSpc>
                <a:spcPct val="90000"/>
              </a:lnSpc>
              <a:spcAft>
                <a:spcPts val="200"/>
              </a:spcAft>
            </a:pPr>
            <a:endParaRPr lang="de-DE" sz="1200" dirty="0">
              <a:solidFill>
                <a:srgbClr val="131313"/>
              </a:solidFill>
            </a:endParaRPr>
          </a:p>
        </p:txBody>
      </p:sp>
      <p:sp>
        <p:nvSpPr>
          <p:cNvPr id="30" name="Textfeld 29">
            <a:extLst>
              <a:ext uri="{FF2B5EF4-FFF2-40B4-BE49-F238E27FC236}">
                <a16:creationId xmlns:a16="http://schemas.microsoft.com/office/drawing/2014/main" id="{B7E88052-34F9-A2F8-6459-567F74E497A9}"/>
              </a:ext>
            </a:extLst>
          </p:cNvPr>
          <p:cNvSpPr txBox="1"/>
          <p:nvPr>
            <p:custDataLst>
              <p:tags r:id="rId4"/>
            </p:custDataLst>
          </p:nvPr>
        </p:nvSpPr>
        <p:spPr>
          <a:xfrm>
            <a:off x="5227128" y="3982187"/>
            <a:ext cx="3849137" cy="240914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0000"/>
              </a:lnSpc>
              <a:spcAft>
                <a:spcPts val="200"/>
              </a:spcAft>
            </a:pPr>
            <a:r>
              <a:rPr lang="en-US" dirty="0"/>
              <a:t>Our Partners and References</a:t>
            </a:r>
          </a:p>
          <a:p>
            <a:pPr marL="215900" lvl="1" indent="-215900">
              <a:lnSpc>
                <a:spcPct val="90000"/>
              </a:lnSpc>
              <a:spcAft>
                <a:spcPts val="200"/>
              </a:spcAft>
            </a:pPr>
            <a:r>
              <a:rPr lang="en-US" sz="1200" dirty="0"/>
              <a:t>Ranger International: </a:t>
            </a:r>
            <a:r>
              <a:rPr lang="en-US" sz="1200" dirty="0" err="1"/>
              <a:t>SalesBuddy</a:t>
            </a:r>
            <a:r>
              <a:rPr lang="en-US" sz="1200" dirty="0"/>
              <a:t>, providing </a:t>
            </a:r>
            <a:br>
              <a:rPr lang="en-US" sz="1200" dirty="0"/>
            </a:br>
            <a:r>
              <a:rPr lang="en-US" sz="1200" dirty="0"/>
              <a:t>on-the-spot assistance via iPad – </a:t>
            </a:r>
            <a:br>
              <a:rPr lang="en-US" sz="1200" dirty="0"/>
            </a:br>
            <a:r>
              <a:rPr lang="en-US" sz="1200" dirty="0"/>
              <a:t>delivering swift responses, pertinent information, </a:t>
            </a:r>
            <a:br>
              <a:rPr lang="en-US" sz="1200" dirty="0"/>
            </a:br>
            <a:r>
              <a:rPr lang="en-US" sz="1200" dirty="0"/>
              <a:t>and useful aid for daily sales activities</a:t>
            </a:r>
          </a:p>
          <a:p>
            <a:pPr marL="215900" lvl="1" indent="-215900">
              <a:lnSpc>
                <a:spcPct val="90000"/>
              </a:lnSpc>
              <a:spcAft>
                <a:spcPts val="200"/>
              </a:spcAft>
            </a:pPr>
            <a:r>
              <a:rPr lang="en-US" sz="1200" dirty="0" err="1"/>
              <a:t>Paradigma</a:t>
            </a:r>
            <a:r>
              <a:rPr lang="en-US" sz="1200" dirty="0"/>
              <a:t>: Assisting service staff in the field with customer interactions and maintenance tasks </a:t>
            </a:r>
          </a:p>
          <a:p>
            <a:pPr marL="215900" lvl="1" indent="-215900">
              <a:lnSpc>
                <a:spcPct val="90000"/>
              </a:lnSpc>
              <a:spcAft>
                <a:spcPts val="200"/>
              </a:spcAft>
            </a:pPr>
            <a:r>
              <a:rPr lang="en-US" sz="1200" dirty="0"/>
              <a:t>KTE: Digital documentation of customer appointments in the field </a:t>
            </a:r>
          </a:p>
        </p:txBody>
      </p:sp>
      <p:cxnSp>
        <p:nvCxnSpPr>
          <p:cNvPr id="4" name="Gerader Verbinder 19">
            <a:extLst>
              <a:ext uri="{FF2B5EF4-FFF2-40B4-BE49-F238E27FC236}">
                <a16:creationId xmlns:a16="http://schemas.microsoft.com/office/drawing/2014/main" id="{7AA004AB-0C0F-E9AA-23A1-2B7625B20449}"/>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3">
            <a:extLst>
              <a:ext uri="{FF2B5EF4-FFF2-40B4-BE49-F238E27FC236}">
                <a16:creationId xmlns:a16="http://schemas.microsoft.com/office/drawing/2014/main" id="{9C9D4516-1708-6514-AE15-7919DF50421A}"/>
              </a:ext>
            </a:extLst>
          </p:cNvPr>
          <p:cNvPicPr>
            <a:picLocks noChangeAspect="1"/>
          </p:cNvPicPr>
          <p:nvPr/>
        </p:nvPicPr>
        <p:blipFill>
          <a:blip r:embed="rId11"/>
          <a:srcRect/>
          <a:stretch/>
        </p:blipFill>
        <p:spPr>
          <a:xfrm>
            <a:off x="10068906" y="2272145"/>
            <a:ext cx="1767151" cy="266875"/>
          </a:xfrm>
          <a:prstGeom prst="rect">
            <a:avLst/>
          </a:prstGeom>
        </p:spPr>
      </p:pic>
      <p:grpSp>
        <p:nvGrpSpPr>
          <p:cNvPr id="6" name="Gruppieren 5">
            <a:extLst>
              <a:ext uri="{FF2B5EF4-FFF2-40B4-BE49-F238E27FC236}">
                <a16:creationId xmlns:a16="http://schemas.microsoft.com/office/drawing/2014/main" id="{BB03D36C-D6BA-BAF5-E8FE-2890519AE558}"/>
              </a:ext>
            </a:extLst>
          </p:cNvPr>
          <p:cNvGrpSpPr/>
          <p:nvPr/>
        </p:nvGrpSpPr>
        <p:grpSpPr>
          <a:xfrm>
            <a:off x="4138804" y="1771450"/>
            <a:ext cx="703694" cy="703694"/>
            <a:chOff x="3460071" y="1779904"/>
            <a:chExt cx="869145" cy="869145"/>
          </a:xfrm>
        </p:grpSpPr>
        <p:sp>
          <p:nvSpPr>
            <p:cNvPr id="7" name="Kreis: nicht ausgefüllt 6">
              <a:extLst>
                <a:ext uri="{FF2B5EF4-FFF2-40B4-BE49-F238E27FC236}">
                  <a16:creationId xmlns:a16="http://schemas.microsoft.com/office/drawing/2014/main" id="{8E264C89-C30D-0055-4756-50F58BD945BE}"/>
                </a:ext>
              </a:extLst>
            </p:cNvPr>
            <p:cNvSpPr/>
            <p:nvPr>
              <p:custDataLst>
                <p:tags r:id="rId8"/>
              </p:custDataLst>
            </p:nvPr>
          </p:nvSpPr>
          <p:spPr>
            <a:xfrm>
              <a:off x="3460071"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9" name="Grafik 8">
              <a:extLst>
                <a:ext uri="{FF2B5EF4-FFF2-40B4-BE49-F238E27FC236}">
                  <a16:creationId xmlns:a16="http://schemas.microsoft.com/office/drawing/2014/main" id="{26068967-0ECE-FE00-B074-5913220B11C2}"/>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10" name="Gruppieren 9">
            <a:extLst>
              <a:ext uri="{FF2B5EF4-FFF2-40B4-BE49-F238E27FC236}">
                <a16:creationId xmlns:a16="http://schemas.microsoft.com/office/drawing/2014/main" id="{D8231935-02F9-599F-19F6-DF5197299DEA}"/>
              </a:ext>
            </a:extLst>
          </p:cNvPr>
          <p:cNvGrpSpPr/>
          <p:nvPr/>
        </p:nvGrpSpPr>
        <p:grpSpPr>
          <a:xfrm>
            <a:off x="8760780" y="3816990"/>
            <a:ext cx="703694" cy="703694"/>
            <a:chOff x="8575325" y="4111833"/>
            <a:chExt cx="869145" cy="869145"/>
          </a:xfrm>
        </p:grpSpPr>
        <p:sp>
          <p:nvSpPr>
            <p:cNvPr id="11" name="Kreis: nicht ausgefüllt 10">
              <a:extLst>
                <a:ext uri="{FF2B5EF4-FFF2-40B4-BE49-F238E27FC236}">
                  <a16:creationId xmlns:a16="http://schemas.microsoft.com/office/drawing/2014/main" id="{3A266EE9-916F-5E9F-6587-7BC8EAC76148}"/>
                </a:ext>
              </a:extLst>
            </p:cNvPr>
            <p:cNvSpPr/>
            <p:nvPr>
              <p:custDataLst>
                <p:tags r:id="rId7"/>
              </p:custDataLst>
            </p:nvPr>
          </p:nvSpPr>
          <p:spPr>
            <a:xfrm>
              <a:off x="8575325"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3" name="Grafik 12">
              <a:extLst>
                <a:ext uri="{FF2B5EF4-FFF2-40B4-BE49-F238E27FC236}">
                  <a16:creationId xmlns:a16="http://schemas.microsoft.com/office/drawing/2014/main" id="{721FDD1D-7E70-3688-C4A5-F8FD372C062C}"/>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15" name="Gruppieren 14">
            <a:extLst>
              <a:ext uri="{FF2B5EF4-FFF2-40B4-BE49-F238E27FC236}">
                <a16:creationId xmlns:a16="http://schemas.microsoft.com/office/drawing/2014/main" id="{249959CB-0431-8FDE-BA83-2184BCE6016D}"/>
              </a:ext>
            </a:extLst>
          </p:cNvPr>
          <p:cNvGrpSpPr/>
          <p:nvPr/>
        </p:nvGrpSpPr>
        <p:grpSpPr>
          <a:xfrm>
            <a:off x="4138804" y="3816990"/>
            <a:ext cx="703694" cy="703694"/>
            <a:chOff x="3460071" y="4111833"/>
            <a:chExt cx="869145" cy="869145"/>
          </a:xfrm>
        </p:grpSpPr>
        <p:sp>
          <p:nvSpPr>
            <p:cNvPr id="17" name="Kreis: nicht ausgefüllt 16">
              <a:extLst>
                <a:ext uri="{FF2B5EF4-FFF2-40B4-BE49-F238E27FC236}">
                  <a16:creationId xmlns:a16="http://schemas.microsoft.com/office/drawing/2014/main" id="{BE22ABEA-F128-8CAB-69FB-F954CA5FBE0F}"/>
                </a:ext>
              </a:extLst>
            </p:cNvPr>
            <p:cNvSpPr/>
            <p:nvPr>
              <p:custDataLst>
                <p:tags r:id="rId6"/>
              </p:custDataLst>
            </p:nvPr>
          </p:nvSpPr>
          <p:spPr>
            <a:xfrm>
              <a:off x="3460071" y="4111833"/>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18" name="Grafik 17">
              <a:extLst>
                <a:ext uri="{FF2B5EF4-FFF2-40B4-BE49-F238E27FC236}">
                  <a16:creationId xmlns:a16="http://schemas.microsoft.com/office/drawing/2014/main" id="{8C1EC7D7-B2AA-328D-1952-5B105CFBD29F}"/>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89830" y="4141593"/>
              <a:ext cx="809625" cy="809625"/>
            </a:xfrm>
            <a:prstGeom prst="rect">
              <a:avLst/>
            </a:prstGeom>
          </p:spPr>
        </p:pic>
      </p:grpSp>
      <p:grpSp>
        <p:nvGrpSpPr>
          <p:cNvPr id="19" name="Gruppieren 18">
            <a:extLst>
              <a:ext uri="{FF2B5EF4-FFF2-40B4-BE49-F238E27FC236}">
                <a16:creationId xmlns:a16="http://schemas.microsoft.com/office/drawing/2014/main" id="{8536EC0B-B58F-2BE6-5091-99FD9827ACBC}"/>
              </a:ext>
            </a:extLst>
          </p:cNvPr>
          <p:cNvGrpSpPr/>
          <p:nvPr/>
        </p:nvGrpSpPr>
        <p:grpSpPr>
          <a:xfrm>
            <a:off x="8760780" y="1771450"/>
            <a:ext cx="703694" cy="703694"/>
            <a:chOff x="7459565" y="1779904"/>
            <a:chExt cx="869145" cy="869145"/>
          </a:xfrm>
        </p:grpSpPr>
        <p:sp>
          <p:nvSpPr>
            <p:cNvPr id="20" name="Kreis: nicht ausgefüllt 19">
              <a:extLst>
                <a:ext uri="{FF2B5EF4-FFF2-40B4-BE49-F238E27FC236}">
                  <a16:creationId xmlns:a16="http://schemas.microsoft.com/office/drawing/2014/main" id="{9F222327-D339-435F-8507-2FD01AFFC05D}"/>
                </a:ext>
              </a:extLst>
            </p:cNvPr>
            <p:cNvSpPr/>
            <p:nvPr>
              <p:custDataLst>
                <p:tags r:id="rId5"/>
              </p:custDataLst>
            </p:nvPr>
          </p:nvSpPr>
          <p:spPr>
            <a:xfrm>
              <a:off x="7459565" y="1779904"/>
              <a:ext cx="869145" cy="869145"/>
            </a:xfrm>
            <a:prstGeom prst="donut">
              <a:avLst>
                <a:gd name="adj" fmla="val 5998"/>
              </a:avLst>
            </a:prstGeom>
            <a:blipFill>
              <a:blip r:embed="rId10"/>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a:p>
          </p:txBody>
        </p:sp>
        <p:pic>
          <p:nvPicPr>
            <p:cNvPr id="21" name="Grafik 20">
              <a:extLst>
                <a:ext uri="{FF2B5EF4-FFF2-40B4-BE49-F238E27FC236}">
                  <a16:creationId xmlns:a16="http://schemas.microsoft.com/office/drawing/2014/main" id="{0CE46A87-9190-39B5-3EAA-4908CF6F1DB2}"/>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7493685" y="1797686"/>
              <a:ext cx="809625" cy="809625"/>
            </a:xfrm>
            <a:prstGeom prst="rect">
              <a:avLst/>
            </a:prstGeom>
          </p:spPr>
        </p:pic>
      </p:grpSp>
    </p:spTree>
    <p:extLst>
      <p:ext uri="{BB962C8B-B14F-4D97-AF65-F5344CB8AC3E}">
        <p14:creationId xmlns:p14="http://schemas.microsoft.com/office/powerpoint/2010/main" val="1130120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2485E6-6BC1-7A7C-C7A4-BDF3B3BE385C}"/>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07C9D2F1-0A25-2B53-1452-B7A9AE56595B}"/>
              </a:ext>
            </a:extLst>
          </p:cNvPr>
          <p:cNvSpPr/>
          <p:nvPr/>
        </p:nvSpPr>
        <p:spPr>
          <a:xfrm>
            <a:off x="9671370" y="1781092"/>
            <a:ext cx="2685600" cy="4311733"/>
          </a:xfrm>
          <a:prstGeom prst="round2DiagRect">
            <a:avLst>
              <a:gd name="adj1" fmla="val 0"/>
              <a:gd name="adj2" fmla="val 4143"/>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360000" tIns="2340000" rIns="108000" bIns="72000" rtlCol="0" anchor="t" anchorCtr="0"/>
          <a:lstStyle/>
          <a:p>
            <a:r>
              <a:rPr lang="en-US" sz="1200" b="1" dirty="0">
                <a:ea typeface=""/>
                <a:cs typeface="+mn-lt"/>
              </a:rPr>
              <a:t>Contact Person</a:t>
            </a:r>
          </a:p>
          <a:p>
            <a:r>
              <a:rPr lang="en-US" sz="1200" dirty="0">
                <a:ea typeface=""/>
                <a:cs typeface="+mn-lt"/>
              </a:rPr>
              <a:t>Dr. Hendrik Leder</a:t>
            </a:r>
          </a:p>
          <a:p>
            <a:r>
              <a:rPr lang="en-US" sz="1200" dirty="0">
                <a:ea typeface=""/>
                <a:cs typeface="+mn-lt"/>
              </a:rPr>
              <a:t> +49 (174) 995 1526</a:t>
            </a:r>
          </a:p>
          <a:p>
            <a:r>
              <a:rPr lang="en-US" sz="1200" dirty="0">
                <a:ea typeface=""/>
                <a:cs typeface="+mn-lt"/>
              </a:rPr>
              <a:t>info@iconcxm.de</a:t>
            </a:r>
          </a:p>
        </p:txBody>
      </p:sp>
      <p:sp>
        <p:nvSpPr>
          <p:cNvPr id="10" name="Titel 11">
            <a:extLst>
              <a:ext uri="{FF2B5EF4-FFF2-40B4-BE49-F238E27FC236}">
                <a16:creationId xmlns:a16="http://schemas.microsoft.com/office/drawing/2014/main" id="{39990129-726D-DFBD-9F3D-28A683CD2B2C}"/>
              </a:ext>
            </a:extLst>
          </p:cNvPr>
          <p:cNvSpPr txBox="1">
            <a:spLocks/>
          </p:cNvSpPr>
          <p:nvPr>
            <p:custDataLst>
              <p:tags r:id="rId1"/>
            </p:custDataLst>
          </p:nvPr>
        </p:nvSpPr>
        <p:spPr bwMode="gray">
          <a:xfrm>
            <a:off x="10001250" y="2110176"/>
            <a:ext cx="1844386"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dirty="0">
              <a:latin typeface="+mn-lt"/>
            </a:endParaRPr>
          </a:p>
        </p:txBody>
      </p:sp>
      <p:sp>
        <p:nvSpPr>
          <p:cNvPr id="12" name="Titel 5">
            <a:extLst>
              <a:ext uri="{FF2B5EF4-FFF2-40B4-BE49-F238E27FC236}">
                <a16:creationId xmlns:a16="http://schemas.microsoft.com/office/drawing/2014/main" id="{29F5AB4A-F482-DBCF-F319-7CA898D52160}"/>
              </a:ext>
            </a:extLst>
          </p:cNvPr>
          <p:cNvSpPr>
            <a:spLocks noGrp="1"/>
          </p:cNvSpPr>
          <p:nvPr>
            <p:ph type="title"/>
          </p:nvPr>
        </p:nvSpPr>
        <p:spPr>
          <a:xfrm>
            <a:off x="649008" y="620713"/>
            <a:ext cx="9807031" cy="738664"/>
          </a:xfrm>
        </p:spPr>
        <p:txBody>
          <a:bodyPr vert="horz"/>
          <a:lstStyle/>
          <a:p>
            <a:r>
              <a:rPr lang="en-US" dirty="0"/>
              <a:t>The central hub for communication in customer interactions</a:t>
            </a:r>
            <a:br>
              <a:rPr lang="en-US" dirty="0"/>
            </a:br>
            <a:r>
              <a:rPr lang="en-US" b="1" dirty="0">
                <a:ea typeface=""/>
                <a:cs typeface="+mn-lt"/>
              </a:rPr>
              <a:t>D7 as the most advanced document creation </a:t>
            </a:r>
          </a:p>
        </p:txBody>
      </p:sp>
      <p:sp>
        <p:nvSpPr>
          <p:cNvPr id="14" name="Fußzeilenplatzhalter 1">
            <a:extLst>
              <a:ext uri="{FF2B5EF4-FFF2-40B4-BE49-F238E27FC236}">
                <a16:creationId xmlns:a16="http://schemas.microsoft.com/office/drawing/2014/main" id="{7C6CC221-7823-7022-9BBE-00F43EF0D26C}"/>
              </a:ext>
            </a:extLst>
          </p:cNvPr>
          <p:cNvSpPr>
            <a:spLocks noGrp="1"/>
          </p:cNvSpPr>
          <p:nvPr>
            <p:ph type="ftr" sz="quarter" idx="10"/>
          </p:nvPr>
        </p:nvSpPr>
        <p:spPr>
          <a:xfrm>
            <a:off x="655780" y="6443762"/>
            <a:ext cx="4968501" cy="153888"/>
          </a:xfrm>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2FD03A16-5F6D-3865-3F87-B1C15BD710F0}"/>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42</a:t>
            </a:fld>
            <a:endParaRPr lang="de-DE" dirty="0"/>
          </a:p>
        </p:txBody>
      </p:sp>
      <p:sp>
        <p:nvSpPr>
          <p:cNvPr id="24" name="Textfeld 23">
            <a:extLst>
              <a:ext uri="{FF2B5EF4-FFF2-40B4-BE49-F238E27FC236}">
                <a16:creationId xmlns:a16="http://schemas.microsoft.com/office/drawing/2014/main" id="{9DD9E3C7-140A-471F-DE5B-14A650E45F34}"/>
              </a:ext>
            </a:extLst>
          </p:cNvPr>
          <p:cNvSpPr txBox="1"/>
          <p:nvPr>
            <p:custDataLst>
              <p:tags r:id="rId2"/>
            </p:custDataLst>
          </p:nvPr>
        </p:nvSpPr>
        <p:spPr>
          <a:xfrm>
            <a:off x="653194" y="1757105"/>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300"/>
              </a:spcAft>
            </a:pPr>
            <a:r>
              <a:rPr lang="en-US" sz="1400" b="1" dirty="0"/>
              <a:t>Your Challenge</a:t>
            </a:r>
          </a:p>
          <a:p>
            <a:pPr marL="215900" lvl="1" indent="-215900">
              <a:lnSpc>
                <a:spcPct val="95000"/>
              </a:lnSpc>
              <a:spcAft>
                <a:spcPts val="300"/>
              </a:spcAft>
            </a:pPr>
            <a:r>
              <a:rPr lang="en-US" sz="1200" b="1" dirty="0"/>
              <a:t>High costs</a:t>
            </a:r>
            <a:r>
              <a:rPr lang="en-US" sz="1200" dirty="0"/>
              <a:t> associated with document creation </a:t>
            </a:r>
            <a:br>
              <a:rPr lang="en-US" sz="1200" dirty="0"/>
            </a:br>
            <a:r>
              <a:rPr lang="en-US" sz="1200" dirty="0"/>
              <a:t>arise from</a:t>
            </a:r>
          </a:p>
          <a:p>
            <a:pPr marL="444600" lvl="2" indent="-228600">
              <a:lnSpc>
                <a:spcPct val="95000"/>
              </a:lnSpc>
              <a:spcAft>
                <a:spcPts val="300"/>
              </a:spcAft>
              <a:buFont typeface="+mj-lt"/>
              <a:buAutoNum type="arabicPeriod"/>
            </a:pPr>
            <a:r>
              <a:rPr lang="en-US" sz="1200" dirty="0"/>
              <a:t>Complex system landscapes and intermediary </a:t>
            </a:r>
            <a:br>
              <a:rPr lang="en-US" sz="1200" dirty="0"/>
            </a:br>
            <a:r>
              <a:rPr lang="en-US" sz="1200" dirty="0"/>
              <a:t>systems</a:t>
            </a:r>
          </a:p>
          <a:p>
            <a:pPr marL="444600" lvl="2" indent="-228600">
              <a:lnSpc>
                <a:spcPct val="95000"/>
              </a:lnSpc>
              <a:spcAft>
                <a:spcPts val="300"/>
              </a:spcAft>
              <a:buFont typeface="+mj-lt"/>
              <a:buAutoNum type="arabicPeriod"/>
            </a:pPr>
            <a:r>
              <a:rPr lang="en-US" sz="1200" dirty="0"/>
              <a:t>Manual processes involved in document creation (which complicate scaling, among other issues)</a:t>
            </a:r>
          </a:p>
          <a:p>
            <a:pPr lvl="1">
              <a:lnSpc>
                <a:spcPct val="95000"/>
              </a:lnSpc>
              <a:spcAft>
                <a:spcPts val="300"/>
              </a:spcAft>
            </a:pPr>
            <a:r>
              <a:rPr lang="en-US" sz="1200" b="1" dirty="0"/>
              <a:t>Challenges of personalizing </a:t>
            </a:r>
            <a:r>
              <a:rPr lang="en-US" sz="1200" dirty="0"/>
              <a:t>customer communication</a:t>
            </a:r>
          </a:p>
          <a:p>
            <a:pPr lvl="1">
              <a:lnSpc>
                <a:spcPct val="95000"/>
              </a:lnSpc>
              <a:spcAft>
                <a:spcPts val="300"/>
              </a:spcAft>
            </a:pPr>
            <a:r>
              <a:rPr lang="en-US" sz="1200" b="1" dirty="0"/>
              <a:t>Delayed responses</a:t>
            </a:r>
            <a:r>
              <a:rPr lang="en-US" sz="1200" dirty="0"/>
              <a:t> to regulatory or functional changes</a:t>
            </a:r>
          </a:p>
          <a:p>
            <a:pPr>
              <a:lnSpc>
                <a:spcPct val="95000"/>
              </a:lnSpc>
              <a:spcAft>
                <a:spcPts val="300"/>
              </a:spcAft>
            </a:pPr>
            <a:endParaRPr lang="de-DE" sz="1400" dirty="0"/>
          </a:p>
        </p:txBody>
      </p:sp>
      <p:sp>
        <p:nvSpPr>
          <p:cNvPr id="26" name="Textfeld 25">
            <a:extLst>
              <a:ext uri="{FF2B5EF4-FFF2-40B4-BE49-F238E27FC236}">
                <a16:creationId xmlns:a16="http://schemas.microsoft.com/office/drawing/2014/main" id="{1D6FB24F-5E6E-CF3D-7679-B79AFD672879}"/>
              </a:ext>
            </a:extLst>
          </p:cNvPr>
          <p:cNvSpPr txBox="1"/>
          <p:nvPr>
            <p:custDataLst>
              <p:tags r:id="rId3"/>
            </p:custDataLst>
          </p:nvPr>
        </p:nvSpPr>
        <p:spPr>
          <a:xfrm>
            <a:off x="5227129" y="1781673"/>
            <a:ext cx="3991555" cy="2279953"/>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400"/>
              </a:spcAft>
            </a:pPr>
            <a:r>
              <a:rPr lang="en-US" sz="1400" b="1" dirty="0"/>
              <a:t>Your Benefits</a:t>
            </a:r>
          </a:p>
          <a:p>
            <a:pPr marL="215900" lvl="1" indent="-215900">
              <a:lnSpc>
                <a:spcPct val="95000"/>
              </a:lnSpc>
              <a:spcAft>
                <a:spcPts val="400"/>
              </a:spcAft>
            </a:pPr>
            <a:r>
              <a:rPr lang="en-US" sz="1200" b="1" dirty="0"/>
              <a:t>Substantial cost reductions</a:t>
            </a:r>
            <a:r>
              <a:rPr lang="en-US" sz="1200" dirty="0"/>
              <a:t> achieved by </a:t>
            </a:r>
            <a:br>
              <a:rPr lang="en-US" sz="1200" dirty="0"/>
            </a:br>
            <a:r>
              <a:rPr lang="en-US" sz="1200" dirty="0"/>
              <a:t>consolidating systems and enhancing efficiency</a:t>
            </a:r>
          </a:p>
          <a:p>
            <a:pPr marL="215900" lvl="1" indent="-215900">
              <a:lnSpc>
                <a:spcPct val="95000"/>
              </a:lnSpc>
              <a:spcAft>
                <a:spcPts val="400"/>
              </a:spcAft>
            </a:pPr>
            <a:r>
              <a:rPr lang="en-US" sz="1200" b="1" dirty="0"/>
              <a:t>Major improvements in efficiency</a:t>
            </a:r>
            <a:r>
              <a:rPr lang="en-US" sz="1200" dirty="0"/>
              <a:t> through user experience optimization</a:t>
            </a:r>
          </a:p>
          <a:p>
            <a:pPr marL="215900" lvl="1" indent="-215900">
              <a:lnSpc>
                <a:spcPct val="95000"/>
              </a:lnSpc>
              <a:spcAft>
                <a:spcPts val="400"/>
              </a:spcAft>
              <a:buClr>
                <a:srgbClr val="A01441"/>
              </a:buClr>
            </a:pPr>
            <a:r>
              <a:rPr lang="en-US" sz="1200" b="1" dirty="0"/>
              <a:t>Considerable savings potential</a:t>
            </a:r>
            <a:r>
              <a:rPr lang="en-US" sz="1200" dirty="0"/>
              <a:t> realized via scaling effects </a:t>
            </a:r>
          </a:p>
          <a:p>
            <a:pPr marL="215900" lvl="1" indent="-215900">
              <a:lnSpc>
                <a:spcPct val="95000"/>
              </a:lnSpc>
              <a:spcAft>
                <a:spcPts val="400"/>
              </a:spcAft>
              <a:buClr>
                <a:srgbClr val="A01441"/>
              </a:buClr>
            </a:pPr>
            <a:r>
              <a:rPr lang="en-US" sz="1200" b="1" dirty="0"/>
              <a:t>Optimized customer communication </a:t>
            </a:r>
          </a:p>
          <a:p>
            <a:pPr marL="215900" lvl="1" indent="-215900">
              <a:lnSpc>
                <a:spcPct val="95000"/>
              </a:lnSpc>
              <a:spcAft>
                <a:spcPts val="400"/>
              </a:spcAft>
              <a:buClr>
                <a:srgbClr val="A01441"/>
              </a:buClr>
            </a:pPr>
            <a:r>
              <a:rPr lang="en-US" sz="1200" b="1" dirty="0"/>
              <a:t>Lower churn rates</a:t>
            </a:r>
            <a:r>
              <a:rPr lang="en-US" sz="1200" dirty="0"/>
              <a:t> alongside better acquisition of new customers </a:t>
            </a:r>
          </a:p>
          <a:p>
            <a:pPr marL="215900" lvl="1" indent="-215900">
              <a:lnSpc>
                <a:spcPct val="95000"/>
              </a:lnSpc>
              <a:spcAft>
                <a:spcPts val="400"/>
              </a:spcAft>
              <a:buClr>
                <a:srgbClr val="A01441"/>
              </a:buClr>
            </a:pPr>
            <a:r>
              <a:rPr lang="en-US" sz="1200" b="1" dirty="0"/>
              <a:t>Investment security</a:t>
            </a:r>
            <a:r>
              <a:rPr lang="en-US" sz="1200" dirty="0"/>
              <a:t> included in the msg product portfolio</a:t>
            </a:r>
          </a:p>
        </p:txBody>
      </p:sp>
      <p:sp>
        <p:nvSpPr>
          <p:cNvPr id="28" name="Textfeld 27">
            <a:extLst>
              <a:ext uri="{FF2B5EF4-FFF2-40B4-BE49-F238E27FC236}">
                <a16:creationId xmlns:a16="http://schemas.microsoft.com/office/drawing/2014/main" id="{6587B15F-E5D2-D079-3F64-ED160ED3B002}"/>
              </a:ext>
            </a:extLst>
          </p:cNvPr>
          <p:cNvSpPr txBox="1"/>
          <p:nvPr>
            <p:custDataLst>
              <p:tags r:id="rId4"/>
            </p:custDataLst>
          </p:nvPr>
        </p:nvSpPr>
        <p:spPr>
          <a:xfrm>
            <a:off x="653195" y="3935165"/>
            <a:ext cx="4196134"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400"/>
              </a:spcAft>
            </a:pPr>
            <a:r>
              <a:rPr lang="en-US" sz="1400" b="1" dirty="0"/>
              <a:t>Our Offering</a:t>
            </a:r>
          </a:p>
          <a:p>
            <a:pPr marL="215900" lvl="1" indent="-215900">
              <a:lnSpc>
                <a:spcPct val="95000"/>
              </a:lnSpc>
              <a:spcAft>
                <a:spcPts val="400"/>
              </a:spcAft>
            </a:pPr>
            <a:r>
              <a:rPr lang="en-US" sz="1200" b="1" dirty="0"/>
              <a:t>Cloud-native SaaS solution</a:t>
            </a:r>
            <a:r>
              <a:rPr lang="en-US" sz="1200" dirty="0"/>
              <a:t> with </a:t>
            </a:r>
            <a:br>
              <a:rPr lang="en-US" sz="1200" dirty="0"/>
            </a:br>
            <a:r>
              <a:rPr lang="en-US" sz="1200" dirty="0"/>
              <a:t>flexible scaling (also possible on-premise)</a:t>
            </a:r>
          </a:p>
          <a:p>
            <a:pPr marL="215900" lvl="1" indent="-215900">
              <a:lnSpc>
                <a:spcPct val="95000"/>
              </a:lnSpc>
              <a:spcAft>
                <a:spcPts val="400"/>
              </a:spcAft>
            </a:pPr>
            <a:r>
              <a:rPr lang="en-US" sz="1200" b="1" dirty="0"/>
              <a:t>Fully integrated into the msg.Insurance Suite</a:t>
            </a:r>
            <a:r>
              <a:rPr lang="en-US" sz="1200" dirty="0"/>
              <a:t> – Eliminating intermediary systems</a:t>
            </a:r>
          </a:p>
          <a:p>
            <a:pPr marL="215900" lvl="1" indent="-215900">
              <a:lnSpc>
                <a:spcPct val="95000"/>
              </a:lnSpc>
              <a:spcAft>
                <a:spcPts val="400"/>
              </a:spcAft>
            </a:pPr>
            <a:r>
              <a:rPr lang="en-US" sz="1200" b="1" dirty="0"/>
              <a:t>Cutting-edge user experience</a:t>
            </a:r>
            <a:r>
              <a:rPr lang="en-US" sz="1200" dirty="0"/>
              <a:t> designed for optimal efficiency in creating and approving documents</a:t>
            </a:r>
          </a:p>
          <a:p>
            <a:pPr marL="215900" lvl="1" indent="-215900">
              <a:lnSpc>
                <a:spcPct val="95000"/>
              </a:lnSpc>
              <a:spcAft>
                <a:spcPts val="400"/>
              </a:spcAft>
            </a:pPr>
            <a:r>
              <a:rPr lang="en-US" sz="1200" b="1" dirty="0"/>
              <a:t>AI-assisted text optimization</a:t>
            </a:r>
            <a:r>
              <a:rPr lang="en-US" sz="1200" dirty="0"/>
              <a:t> and accessible communication</a:t>
            </a:r>
          </a:p>
          <a:p>
            <a:pPr marL="215900" lvl="1" indent="-215900">
              <a:lnSpc>
                <a:spcPct val="95000"/>
              </a:lnSpc>
              <a:spcAft>
                <a:spcPts val="400"/>
              </a:spcAft>
            </a:pPr>
            <a:r>
              <a:rPr lang="en-US" sz="1200" b="1" dirty="0"/>
              <a:t>Future-ready and easily upgradeable</a:t>
            </a:r>
            <a:r>
              <a:rPr lang="en-US" sz="1200" dirty="0"/>
              <a:t> due to modern technology stack</a:t>
            </a:r>
          </a:p>
        </p:txBody>
      </p:sp>
      <p:sp>
        <p:nvSpPr>
          <p:cNvPr id="30" name="Textfeld 29">
            <a:extLst>
              <a:ext uri="{FF2B5EF4-FFF2-40B4-BE49-F238E27FC236}">
                <a16:creationId xmlns:a16="http://schemas.microsoft.com/office/drawing/2014/main" id="{D8F619A4-E8DC-6513-0B18-D23D4F564813}"/>
              </a:ext>
            </a:extLst>
          </p:cNvPr>
          <p:cNvSpPr txBox="1"/>
          <p:nvPr>
            <p:custDataLst>
              <p:tags r:id="rId5"/>
            </p:custDataLst>
          </p:nvPr>
        </p:nvSpPr>
        <p:spPr>
          <a:xfrm>
            <a:off x="5227129" y="4440848"/>
            <a:ext cx="377887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400"/>
              </a:spcAft>
            </a:pPr>
            <a:r>
              <a:rPr lang="en-US" dirty="0"/>
              <a:t>Our Partners and References</a:t>
            </a:r>
          </a:p>
          <a:p>
            <a:pPr marL="215900" lvl="1" indent="-215900">
              <a:lnSpc>
                <a:spcPct val="95000"/>
              </a:lnSpc>
              <a:spcAft>
                <a:spcPts val="400"/>
              </a:spcAft>
            </a:pPr>
            <a:r>
              <a:rPr lang="en-US" sz="1200" dirty="0"/>
              <a:t>Close collaboration with msg</a:t>
            </a:r>
          </a:p>
          <a:p>
            <a:pPr marL="215900" lvl="1" indent="-215900">
              <a:lnSpc>
                <a:spcPct val="95000"/>
              </a:lnSpc>
              <a:spcAft>
                <a:spcPts val="400"/>
              </a:spcAft>
            </a:pPr>
            <a:r>
              <a:rPr lang="en-US" sz="1200" dirty="0"/>
              <a:t>Selected customers: W&amp;W, Viridium, Stuttgarter, SDK</a:t>
            </a:r>
          </a:p>
        </p:txBody>
      </p:sp>
      <p:grpSp>
        <p:nvGrpSpPr>
          <p:cNvPr id="2" name="Gruppieren 1">
            <a:extLst>
              <a:ext uri="{FF2B5EF4-FFF2-40B4-BE49-F238E27FC236}">
                <a16:creationId xmlns:a16="http://schemas.microsoft.com/office/drawing/2014/main" id="{AEB5947E-6794-903B-B786-E324AA475CFB}"/>
              </a:ext>
            </a:extLst>
          </p:cNvPr>
          <p:cNvGrpSpPr/>
          <p:nvPr/>
        </p:nvGrpSpPr>
        <p:grpSpPr>
          <a:xfrm>
            <a:off x="4138804" y="1771450"/>
            <a:ext cx="703694" cy="703694"/>
            <a:chOff x="3460071" y="1779904"/>
            <a:chExt cx="869145" cy="869145"/>
          </a:xfrm>
        </p:grpSpPr>
        <p:sp>
          <p:nvSpPr>
            <p:cNvPr id="3" name="Kreis: nicht ausgefüllt 2">
              <a:extLst>
                <a:ext uri="{FF2B5EF4-FFF2-40B4-BE49-F238E27FC236}">
                  <a16:creationId xmlns:a16="http://schemas.microsoft.com/office/drawing/2014/main" id="{BAAD14C3-88AA-D540-D1D2-38F952AEB199}"/>
                </a:ext>
              </a:extLst>
            </p:cNvPr>
            <p:cNvSpPr/>
            <p:nvPr>
              <p:custDataLst>
                <p:tags r:id="rId9"/>
              </p:custDataLst>
            </p:nvPr>
          </p:nvSpPr>
          <p:spPr>
            <a:xfrm>
              <a:off x="3460071" y="1779904"/>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dirty="0"/>
            </a:p>
          </p:txBody>
        </p:sp>
        <p:pic>
          <p:nvPicPr>
            <p:cNvPr id="23" name="Grafik 22">
              <a:extLst>
                <a:ext uri="{FF2B5EF4-FFF2-40B4-BE49-F238E27FC236}">
                  <a16:creationId xmlns:a16="http://schemas.microsoft.com/office/drawing/2014/main" id="{12BCFB54-2144-8296-753A-C45CDBB6EDC1}"/>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496632" y="1796942"/>
              <a:ext cx="809625" cy="809625"/>
            </a:xfrm>
            <a:prstGeom prst="rect">
              <a:avLst/>
            </a:prstGeom>
          </p:spPr>
        </p:pic>
      </p:grpSp>
      <p:grpSp>
        <p:nvGrpSpPr>
          <p:cNvPr id="25" name="Gruppieren 24">
            <a:extLst>
              <a:ext uri="{FF2B5EF4-FFF2-40B4-BE49-F238E27FC236}">
                <a16:creationId xmlns:a16="http://schemas.microsoft.com/office/drawing/2014/main" id="{7A17DDB2-23F2-79A6-7936-D1F9E288D497}"/>
              </a:ext>
            </a:extLst>
          </p:cNvPr>
          <p:cNvGrpSpPr/>
          <p:nvPr/>
        </p:nvGrpSpPr>
        <p:grpSpPr>
          <a:xfrm>
            <a:off x="8760781" y="4077458"/>
            <a:ext cx="703694" cy="703694"/>
            <a:chOff x="8575325" y="4111833"/>
            <a:chExt cx="869145" cy="869145"/>
          </a:xfrm>
        </p:grpSpPr>
        <p:sp>
          <p:nvSpPr>
            <p:cNvPr id="27" name="Kreis: nicht ausgefüllt 26">
              <a:extLst>
                <a:ext uri="{FF2B5EF4-FFF2-40B4-BE49-F238E27FC236}">
                  <a16:creationId xmlns:a16="http://schemas.microsoft.com/office/drawing/2014/main" id="{6BC08635-7A62-529B-75F2-58DE677522D9}"/>
                </a:ext>
              </a:extLst>
            </p:cNvPr>
            <p:cNvSpPr/>
            <p:nvPr>
              <p:custDataLst>
                <p:tags r:id="rId8"/>
              </p:custDataLst>
            </p:nvPr>
          </p:nvSpPr>
          <p:spPr>
            <a:xfrm>
              <a:off x="8575325" y="4111833"/>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dirty="0"/>
            </a:p>
          </p:txBody>
        </p:sp>
        <p:pic>
          <p:nvPicPr>
            <p:cNvPr id="29" name="Grafik 28">
              <a:extLst>
                <a:ext uri="{FF2B5EF4-FFF2-40B4-BE49-F238E27FC236}">
                  <a16:creationId xmlns:a16="http://schemas.microsoft.com/office/drawing/2014/main" id="{B6420A4A-D60A-F6F4-7829-0CD6BF5163C5}"/>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608010" y="4171353"/>
              <a:ext cx="809625" cy="809625"/>
            </a:xfrm>
            <a:prstGeom prst="rect">
              <a:avLst/>
            </a:prstGeom>
          </p:spPr>
        </p:pic>
      </p:grpSp>
      <p:grpSp>
        <p:nvGrpSpPr>
          <p:cNvPr id="31" name="Gruppieren 30">
            <a:extLst>
              <a:ext uri="{FF2B5EF4-FFF2-40B4-BE49-F238E27FC236}">
                <a16:creationId xmlns:a16="http://schemas.microsoft.com/office/drawing/2014/main" id="{13ACC792-DC87-8527-47D0-85D04685E75E}"/>
              </a:ext>
            </a:extLst>
          </p:cNvPr>
          <p:cNvGrpSpPr/>
          <p:nvPr/>
        </p:nvGrpSpPr>
        <p:grpSpPr>
          <a:xfrm>
            <a:off x="4138251" y="3578544"/>
            <a:ext cx="703694" cy="703694"/>
            <a:chOff x="3460071" y="4111833"/>
            <a:chExt cx="869145" cy="869145"/>
          </a:xfrm>
        </p:grpSpPr>
        <p:sp>
          <p:nvSpPr>
            <p:cNvPr id="32" name="Kreis: nicht ausgefüllt 31">
              <a:extLst>
                <a:ext uri="{FF2B5EF4-FFF2-40B4-BE49-F238E27FC236}">
                  <a16:creationId xmlns:a16="http://schemas.microsoft.com/office/drawing/2014/main" id="{6D961E28-D6F5-CF25-C4C2-11E219619B37}"/>
                </a:ext>
              </a:extLst>
            </p:cNvPr>
            <p:cNvSpPr/>
            <p:nvPr>
              <p:custDataLst>
                <p:tags r:id="rId7"/>
              </p:custDataLst>
            </p:nvPr>
          </p:nvSpPr>
          <p:spPr>
            <a:xfrm>
              <a:off x="3460071" y="4111833"/>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dirty="0"/>
            </a:p>
          </p:txBody>
        </p:sp>
        <p:pic>
          <p:nvPicPr>
            <p:cNvPr id="33" name="Grafik 32">
              <a:extLst>
                <a:ext uri="{FF2B5EF4-FFF2-40B4-BE49-F238E27FC236}">
                  <a16:creationId xmlns:a16="http://schemas.microsoft.com/office/drawing/2014/main" id="{8F6DA0B1-0094-4393-0B8C-D11CD52FB8F3}"/>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3489830" y="4141593"/>
              <a:ext cx="809625" cy="809625"/>
            </a:xfrm>
            <a:prstGeom prst="rect">
              <a:avLst/>
            </a:prstGeom>
          </p:spPr>
        </p:pic>
      </p:grpSp>
      <p:grpSp>
        <p:nvGrpSpPr>
          <p:cNvPr id="34" name="Gruppieren 33">
            <a:extLst>
              <a:ext uri="{FF2B5EF4-FFF2-40B4-BE49-F238E27FC236}">
                <a16:creationId xmlns:a16="http://schemas.microsoft.com/office/drawing/2014/main" id="{7957FAE2-0D01-5DC6-1BE9-67B3E66F8A3C}"/>
              </a:ext>
            </a:extLst>
          </p:cNvPr>
          <p:cNvGrpSpPr/>
          <p:nvPr/>
        </p:nvGrpSpPr>
        <p:grpSpPr>
          <a:xfrm>
            <a:off x="8760780" y="1771450"/>
            <a:ext cx="703694" cy="703694"/>
            <a:chOff x="7459565" y="1779904"/>
            <a:chExt cx="869145" cy="869145"/>
          </a:xfrm>
        </p:grpSpPr>
        <p:sp>
          <p:nvSpPr>
            <p:cNvPr id="35" name="Kreis: nicht ausgefüllt 34">
              <a:extLst>
                <a:ext uri="{FF2B5EF4-FFF2-40B4-BE49-F238E27FC236}">
                  <a16:creationId xmlns:a16="http://schemas.microsoft.com/office/drawing/2014/main" id="{6FBAF162-A8C4-1510-0E81-8393DE4D8DA3}"/>
                </a:ext>
              </a:extLst>
            </p:cNvPr>
            <p:cNvSpPr/>
            <p:nvPr>
              <p:custDataLst>
                <p:tags r:id="rId6"/>
              </p:custDataLst>
            </p:nvPr>
          </p:nvSpPr>
          <p:spPr>
            <a:xfrm>
              <a:off x="7459565" y="1779904"/>
              <a:ext cx="869145" cy="869145"/>
            </a:xfrm>
            <a:prstGeom prst="donut">
              <a:avLst>
                <a:gd name="adj" fmla="val 5998"/>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2800" dirty="0"/>
            </a:p>
          </p:txBody>
        </p:sp>
        <p:pic>
          <p:nvPicPr>
            <p:cNvPr id="36" name="Grafik 35">
              <a:extLst>
                <a:ext uri="{FF2B5EF4-FFF2-40B4-BE49-F238E27FC236}">
                  <a16:creationId xmlns:a16="http://schemas.microsoft.com/office/drawing/2014/main" id="{7F9655EA-2DCB-1FC9-0C66-A1EA5B81500A}"/>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7493685" y="1797686"/>
              <a:ext cx="809625" cy="809625"/>
            </a:xfrm>
            <a:prstGeom prst="rect">
              <a:avLst/>
            </a:prstGeom>
          </p:spPr>
        </p:pic>
      </p:grpSp>
      <p:pic>
        <p:nvPicPr>
          <p:cNvPr id="11" name="Picture 10">
            <a:extLst>
              <a:ext uri="{FF2B5EF4-FFF2-40B4-BE49-F238E27FC236}">
                <a16:creationId xmlns:a16="http://schemas.microsoft.com/office/drawing/2014/main" id="{2B5D951F-F848-1CEA-5124-A9AC3B230BBB}"/>
              </a:ext>
            </a:extLst>
          </p:cNvPr>
          <p:cNvPicPr>
            <a:picLocks noChangeAspect="1"/>
          </p:cNvPicPr>
          <p:nvPr/>
        </p:nvPicPr>
        <p:blipFill>
          <a:blip r:embed="rId16"/>
          <a:stretch>
            <a:fillRect/>
          </a:stretch>
        </p:blipFill>
        <p:spPr>
          <a:xfrm>
            <a:off x="10218593" y="2208439"/>
            <a:ext cx="1409700" cy="438150"/>
          </a:xfrm>
          <a:prstGeom prst="rect">
            <a:avLst/>
          </a:prstGeom>
        </p:spPr>
      </p:pic>
      <p:cxnSp>
        <p:nvCxnSpPr>
          <p:cNvPr id="6" name="Gerader Verbinder 19">
            <a:extLst>
              <a:ext uri="{FF2B5EF4-FFF2-40B4-BE49-F238E27FC236}">
                <a16:creationId xmlns:a16="http://schemas.microsoft.com/office/drawing/2014/main" id="{EAD0D9CA-1133-081E-7D88-3E4BCE4E330E}"/>
              </a:ext>
            </a:extLst>
          </p:cNvPr>
          <p:cNvCxnSpPr>
            <a:cxnSpLocks/>
          </p:cNvCxnSpPr>
          <p:nvPr/>
        </p:nvCxnSpPr>
        <p:spPr>
          <a:xfrm>
            <a:off x="5019428" y="1781092"/>
            <a:ext cx="0" cy="4311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70830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F7DEA7B6-1B13-366A-672A-F7F751F7450C}"/>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en-US" sz="1200" b="1">
                <a:ea typeface=""/>
                <a:cs typeface="+mn-lt"/>
              </a:rPr>
              <a:t>Contact person</a:t>
            </a:r>
          </a:p>
          <a:p>
            <a:r>
              <a:rPr lang="en-US" sz="1200"/>
              <a:t>Stefan Walter</a:t>
            </a:r>
          </a:p>
          <a:p>
            <a:r>
              <a:rPr lang="en-US" sz="1200">
                <a:ea typeface=""/>
                <a:cs typeface="+mn-lt"/>
              </a:rPr>
              <a:t>+49 172 4632842</a:t>
            </a:r>
          </a:p>
          <a:p>
            <a:r>
              <a:rPr lang="en-US" sz="1200">
                <a:ea typeface=""/>
                <a:cs typeface="+mn-lt"/>
              </a:rPr>
              <a:t>Stefan.Walter@msg.group</a:t>
            </a:r>
          </a:p>
        </p:txBody>
      </p:sp>
      <p:sp>
        <p:nvSpPr>
          <p:cNvPr id="10" name="Titel 11">
            <a:extLst>
              <a:ext uri="{FF2B5EF4-FFF2-40B4-BE49-F238E27FC236}">
                <a16:creationId xmlns:a16="http://schemas.microsoft.com/office/drawing/2014/main" id="{66117DF3-FEB1-C3DF-24B0-36BFCE486E77}"/>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31" name="Textplatzhalter 30">
            <a:extLst>
              <a:ext uri="{FF2B5EF4-FFF2-40B4-BE49-F238E27FC236}">
                <a16:creationId xmlns:a16="http://schemas.microsoft.com/office/drawing/2014/main" id="{807B63BF-D609-29DF-FEDD-6E8D8960113B}"/>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C650468C-8CAB-5FB1-825F-5326198CA1FD}"/>
              </a:ext>
            </a:extLst>
          </p:cNvPr>
          <p:cNvSpPr>
            <a:spLocks noGrp="1"/>
          </p:cNvSpPr>
          <p:nvPr>
            <p:ph type="title"/>
          </p:nvPr>
        </p:nvSpPr>
        <p:spPr/>
        <p:txBody>
          <a:bodyPr vert="horz"/>
          <a:lstStyle/>
          <a:p>
            <a:r>
              <a:rPr lang="en-US"/>
              <a:t>AI-assisted skill management &amp; competence development</a:t>
            </a:r>
            <a:br>
              <a:rPr lang="en-US"/>
            </a:br>
            <a:r>
              <a:rPr lang="en-US" b="1"/>
              <a:t>msg.ProfileMap</a:t>
            </a:r>
          </a:p>
        </p:txBody>
      </p:sp>
      <p:sp>
        <p:nvSpPr>
          <p:cNvPr id="14" name="Fußzeilenplatzhalter 1">
            <a:extLst>
              <a:ext uri="{FF2B5EF4-FFF2-40B4-BE49-F238E27FC236}">
                <a16:creationId xmlns:a16="http://schemas.microsoft.com/office/drawing/2014/main" id="{67460F70-322B-1B78-C506-3B7CC9CA4509}"/>
              </a:ext>
            </a:extLst>
          </p:cNvPr>
          <p:cNvSpPr>
            <a:spLocks noGrp="1"/>
          </p:cNvSpPr>
          <p:nvPr>
            <p:ph type="ftr" sz="quarter" idx="10"/>
          </p:nvPr>
        </p:nvSpPr>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3D893689-2E2F-3A9F-E22A-327EA99A741D}"/>
              </a:ext>
            </a:extLst>
          </p:cNvPr>
          <p:cNvSpPr>
            <a:spLocks noGrp="1"/>
          </p:cNvSpPr>
          <p:nvPr>
            <p:ph type="sldNum" sz="quarter" idx="11"/>
          </p:nvPr>
        </p:nvSpPr>
        <p:spPr/>
        <p:txBody>
          <a:bodyPr/>
          <a:lstStyle/>
          <a:p>
            <a:fld id="{B27B0579-4238-4E44-9A9E-134B676F827C}" type="slidenum">
              <a:rPr lang="de-DE" smtClean="0"/>
              <a:pPr/>
              <a:t>43</a:t>
            </a:fld>
            <a:endParaRPr lang="de-DE"/>
          </a:p>
        </p:txBody>
      </p:sp>
      <p:cxnSp>
        <p:nvCxnSpPr>
          <p:cNvPr id="20" name="Gerader Verbinder 19">
            <a:extLst>
              <a:ext uri="{FF2B5EF4-FFF2-40B4-BE49-F238E27FC236}">
                <a16:creationId xmlns:a16="http://schemas.microsoft.com/office/drawing/2014/main" id="{85E417FB-9633-9924-05F0-5585E1ABD209}"/>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758B2E13-B163-5B16-F396-3C9CDE4AB34E}"/>
              </a:ext>
            </a:extLst>
          </p:cNvPr>
          <p:cNvSpPr txBox="1"/>
          <p:nvPr>
            <p:custDataLst>
              <p:tags r:id="rId3"/>
            </p:custDataLst>
          </p:nvPr>
        </p:nvSpPr>
        <p:spPr>
          <a:xfrm>
            <a:off x="653195" y="1782594"/>
            <a:ext cx="3896035"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a:t>Your Challenge</a:t>
            </a:r>
          </a:p>
          <a:p>
            <a:pPr marL="215900" lvl="1" indent="-215900" fontAlgn="t">
              <a:lnSpc>
                <a:spcPct val="95000"/>
              </a:lnSpc>
              <a:spcAft>
                <a:spcPts val="200"/>
              </a:spcAft>
            </a:pPr>
            <a:r>
              <a:rPr lang="en-US" sz="1200"/>
              <a:t>Execution of </a:t>
            </a:r>
            <a:r>
              <a:rPr lang="en-US" sz="1200" b="1"/>
              <a:t>strategic workforce planning</a:t>
            </a:r>
          </a:p>
          <a:p>
            <a:pPr marL="215900" lvl="1" indent="-215900" fontAlgn="t">
              <a:lnSpc>
                <a:spcPct val="95000"/>
              </a:lnSpc>
              <a:spcAft>
                <a:spcPts val="200"/>
              </a:spcAft>
            </a:pPr>
            <a:r>
              <a:rPr lang="en-US" sz="1200"/>
              <a:t>Transparency about </a:t>
            </a:r>
            <a:r>
              <a:rPr lang="en-US" sz="1200" b="1"/>
              <a:t>workforce competence</a:t>
            </a:r>
          </a:p>
          <a:p>
            <a:pPr marL="215900" lvl="1" indent="-215900" fontAlgn="t">
              <a:lnSpc>
                <a:spcPct val="95000"/>
              </a:lnSpc>
              <a:spcAft>
                <a:spcPts val="200"/>
              </a:spcAft>
            </a:pPr>
            <a:r>
              <a:rPr lang="en-US" sz="1200"/>
              <a:t>Assistance in employee development for the implementation of new business models </a:t>
            </a:r>
          </a:p>
          <a:p>
            <a:pPr marL="215900" lvl="1" indent="-215900" fontAlgn="t">
              <a:lnSpc>
                <a:spcPct val="95000"/>
              </a:lnSpc>
              <a:spcAft>
                <a:spcPts val="200"/>
              </a:spcAft>
            </a:pPr>
            <a:r>
              <a:rPr lang="en-US" sz="1200"/>
              <a:t>Enhanced operational effectiveness</a:t>
            </a:r>
          </a:p>
          <a:p>
            <a:pPr marL="215900" lvl="1" indent="-215900" fontAlgn="t">
              <a:lnSpc>
                <a:spcPct val="95000"/>
              </a:lnSpc>
              <a:spcAft>
                <a:spcPts val="200"/>
              </a:spcAft>
            </a:pPr>
            <a:r>
              <a:rPr lang="en-US" sz="1200"/>
              <a:t>More effective identification and assignment of resources</a:t>
            </a:r>
          </a:p>
          <a:p>
            <a:pPr marL="215900" lvl="1" indent="-215900" fontAlgn="t">
              <a:lnSpc>
                <a:spcPct val="95000"/>
              </a:lnSpc>
              <a:spcAft>
                <a:spcPts val="200"/>
              </a:spcAft>
            </a:pPr>
            <a:r>
              <a:rPr lang="en-US" sz="1200"/>
              <a:t>Available as SaaS</a:t>
            </a:r>
          </a:p>
          <a:p>
            <a:pPr>
              <a:lnSpc>
                <a:spcPct val="95000"/>
              </a:lnSpc>
              <a:spcAft>
                <a:spcPts val="200"/>
              </a:spcAft>
            </a:pPr>
            <a:endParaRPr lang="de-DE" sz="1400" dirty="0"/>
          </a:p>
        </p:txBody>
      </p:sp>
      <p:sp>
        <p:nvSpPr>
          <p:cNvPr id="26" name="Textfeld 25">
            <a:extLst>
              <a:ext uri="{FF2B5EF4-FFF2-40B4-BE49-F238E27FC236}">
                <a16:creationId xmlns:a16="http://schemas.microsoft.com/office/drawing/2014/main" id="{B6720C19-25C2-2C2A-7C58-94819B8342F3}"/>
              </a:ext>
            </a:extLst>
          </p:cNvPr>
          <p:cNvSpPr txBox="1"/>
          <p:nvPr>
            <p:custDataLst>
              <p:tags r:id="rId4"/>
            </p:custDataLst>
          </p:nvPr>
        </p:nvSpPr>
        <p:spPr>
          <a:xfrm>
            <a:off x="5227890" y="1768083"/>
            <a:ext cx="4282038" cy="2351087"/>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Your Benefits</a:t>
            </a:r>
          </a:p>
          <a:p>
            <a:pPr marL="171450" indent="-171450">
              <a:lnSpc>
                <a:spcPct val="95000"/>
              </a:lnSpc>
              <a:spcAft>
                <a:spcPts val="0"/>
              </a:spcAft>
              <a:buFont typeface="Arial" panose="020B0604020202020204" pitchFamily="34" charset="0"/>
              <a:buChar char="•"/>
            </a:pPr>
            <a:r>
              <a:rPr lang="en-US" sz="1200" b="1" dirty="0"/>
              <a:t>Staffing and sourcing: </a:t>
            </a:r>
            <a:r>
              <a:rPr lang="en-US" sz="1200" dirty="0"/>
              <a:t>Efficient planning and</a:t>
            </a:r>
            <a:br>
              <a:rPr lang="en-US" sz="1200" dirty="0"/>
            </a:br>
            <a:r>
              <a:rPr lang="en-US" sz="1200" dirty="0"/>
              <a:t>utilization of staff </a:t>
            </a:r>
          </a:p>
          <a:p>
            <a:pPr marL="171450" indent="-171450">
              <a:lnSpc>
                <a:spcPct val="95000"/>
              </a:lnSpc>
              <a:spcAft>
                <a:spcPts val="0"/>
              </a:spcAft>
              <a:buFont typeface="Arial" panose="020B0604020202020204" pitchFamily="34" charset="0"/>
              <a:buChar char="•"/>
            </a:pPr>
            <a:r>
              <a:rPr lang="en-US" sz="1200" b="1" dirty="0"/>
              <a:t>Company transformation:</a:t>
            </a:r>
            <a:r>
              <a:rPr lang="en-US" sz="1200" dirty="0"/>
              <a:t> Development of skills and adjustment of competence structure in the course of organizational changes</a:t>
            </a:r>
          </a:p>
          <a:p>
            <a:pPr marL="171450" indent="-171450">
              <a:lnSpc>
                <a:spcPct val="95000"/>
              </a:lnSpc>
              <a:spcAft>
                <a:spcPts val="0"/>
              </a:spcAft>
              <a:buFont typeface="Arial" panose="020B0604020202020204" pitchFamily="34" charset="0"/>
              <a:buChar char="•"/>
            </a:pPr>
            <a:r>
              <a:rPr lang="en-US" sz="1200" b="1" dirty="0"/>
              <a:t>Employees: </a:t>
            </a:r>
            <a:r>
              <a:rPr lang="en-US" sz="1200" dirty="0"/>
              <a:t>Automated collection of profile and project information, identify skill gaps and suggest development paths</a:t>
            </a:r>
          </a:p>
          <a:p>
            <a:pPr marL="171450" indent="-171450">
              <a:lnSpc>
                <a:spcPct val="95000"/>
              </a:lnSpc>
              <a:spcAft>
                <a:spcPts val="0"/>
              </a:spcAft>
              <a:buFont typeface="Arial" panose="020B0604020202020204" pitchFamily="34" charset="0"/>
              <a:buChar char="•"/>
            </a:pPr>
            <a:r>
              <a:rPr lang="en-US" sz="1200" b="1" dirty="0"/>
              <a:t>HR management: </a:t>
            </a:r>
            <a:r>
              <a:rPr lang="en-US" sz="1200" dirty="0"/>
              <a:t>Transparency about skills and competences </a:t>
            </a:r>
          </a:p>
          <a:p>
            <a:pPr marL="171450" indent="-171450">
              <a:lnSpc>
                <a:spcPct val="95000"/>
              </a:lnSpc>
              <a:spcAft>
                <a:spcPts val="0"/>
              </a:spcAft>
              <a:buFont typeface="Arial" panose="020B0604020202020204" pitchFamily="34" charset="0"/>
              <a:buChar char="•"/>
            </a:pPr>
            <a:r>
              <a:rPr lang="en-US" sz="1200" b="1" dirty="0"/>
              <a:t>Strategy and business development: </a:t>
            </a:r>
            <a:r>
              <a:rPr lang="en-US" sz="1200" dirty="0"/>
              <a:t>Identify future-relevant business areas </a:t>
            </a:r>
          </a:p>
        </p:txBody>
      </p:sp>
      <p:sp>
        <p:nvSpPr>
          <p:cNvPr id="28" name="Textfeld 27">
            <a:extLst>
              <a:ext uri="{FF2B5EF4-FFF2-40B4-BE49-F238E27FC236}">
                <a16:creationId xmlns:a16="http://schemas.microsoft.com/office/drawing/2014/main" id="{150C510F-FB15-CF06-CE2A-2ED77FB1E7EC}"/>
              </a:ext>
            </a:extLst>
          </p:cNvPr>
          <p:cNvSpPr txBox="1"/>
          <p:nvPr>
            <p:custDataLst>
              <p:tags r:id="rId5"/>
            </p:custDataLst>
          </p:nvPr>
        </p:nvSpPr>
        <p:spPr>
          <a:xfrm>
            <a:off x="653195" y="4113388"/>
            <a:ext cx="4490500"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Our Offering</a:t>
            </a:r>
          </a:p>
          <a:p>
            <a:pPr fontAlgn="t">
              <a:lnSpc>
                <a:spcPct val="95000"/>
              </a:lnSpc>
            </a:pPr>
            <a:r>
              <a:rPr lang="en-US" sz="1200" b="1" dirty="0"/>
              <a:t>AI-assisted SaaS solution for</a:t>
            </a:r>
          </a:p>
          <a:p>
            <a:pPr marL="215900" lvl="1" indent="-215900" fontAlgn="t">
              <a:lnSpc>
                <a:spcPct val="95000"/>
              </a:lnSpc>
              <a:spcAft>
                <a:spcPts val="200"/>
              </a:spcAft>
            </a:pPr>
            <a:r>
              <a:rPr lang="en-US" sz="1200" dirty="0"/>
              <a:t>Harmonization of HR information across </a:t>
            </a:r>
            <a:br>
              <a:rPr lang="en-US" sz="1200" dirty="0"/>
            </a:br>
            <a:r>
              <a:rPr lang="en-US" sz="1200" dirty="0"/>
              <a:t>different systems (e.g., activities, competences, </a:t>
            </a:r>
            <a:br>
              <a:rPr lang="en-US" sz="1200" dirty="0"/>
            </a:br>
            <a:r>
              <a:rPr lang="en-US" sz="1200" dirty="0"/>
              <a:t>training)</a:t>
            </a:r>
          </a:p>
          <a:p>
            <a:pPr marL="215900" lvl="1" indent="-215900" fontAlgn="t">
              <a:lnSpc>
                <a:spcPct val="95000"/>
              </a:lnSpc>
              <a:spcAft>
                <a:spcPts val="200"/>
              </a:spcAft>
            </a:pPr>
            <a:r>
              <a:rPr lang="en-US" sz="1200" dirty="0"/>
              <a:t>Automatic supplementation of missing information </a:t>
            </a:r>
            <a:br>
              <a:rPr lang="en-US" sz="1200" dirty="0"/>
            </a:br>
            <a:r>
              <a:rPr lang="en-US" sz="1200" dirty="0"/>
              <a:t>(e.g., job descriptions)</a:t>
            </a:r>
          </a:p>
          <a:p>
            <a:pPr marL="215900" lvl="1" indent="-215900" fontAlgn="t">
              <a:lnSpc>
                <a:spcPct val="95000"/>
              </a:lnSpc>
              <a:spcAft>
                <a:spcPts val="200"/>
              </a:spcAft>
            </a:pPr>
            <a:r>
              <a:rPr lang="en-US" sz="1200" dirty="0"/>
              <a:t>Identify skill gaps and further training opportunities</a:t>
            </a:r>
          </a:p>
          <a:p>
            <a:pPr marL="215900" lvl="1" indent="-215900" fontAlgn="t">
              <a:lnSpc>
                <a:spcPct val="95000"/>
              </a:lnSpc>
              <a:spcAft>
                <a:spcPts val="200"/>
              </a:spcAft>
            </a:pPr>
            <a:r>
              <a:rPr lang="en-US" sz="1200" dirty="0"/>
              <a:t>Assignment of people to projects or positions</a:t>
            </a:r>
          </a:p>
          <a:p>
            <a:pPr>
              <a:lnSpc>
                <a:spcPct val="95000"/>
              </a:lnSpc>
              <a:spcAft>
                <a:spcPts val="200"/>
              </a:spcAft>
            </a:pPr>
            <a:endParaRPr lang="de-DE" sz="1400" dirty="0"/>
          </a:p>
        </p:txBody>
      </p:sp>
      <p:sp>
        <p:nvSpPr>
          <p:cNvPr id="30" name="Textfeld 29">
            <a:extLst>
              <a:ext uri="{FF2B5EF4-FFF2-40B4-BE49-F238E27FC236}">
                <a16:creationId xmlns:a16="http://schemas.microsoft.com/office/drawing/2014/main" id="{FD953202-9F33-0864-FC0C-4EDDA03F2F35}"/>
              </a:ext>
            </a:extLst>
          </p:cNvPr>
          <p:cNvSpPr txBox="1"/>
          <p:nvPr>
            <p:custDataLst>
              <p:tags r:id="rId6"/>
            </p:custDataLst>
          </p:nvPr>
        </p:nvSpPr>
        <p:spPr>
          <a:xfrm>
            <a:off x="5227890" y="4105451"/>
            <a:ext cx="3882060" cy="922337"/>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dirty="0"/>
              <a:t>Our Partners and References</a:t>
            </a:r>
          </a:p>
          <a:p>
            <a:pPr marL="171450" indent="-171450">
              <a:lnSpc>
                <a:spcPct val="95000"/>
              </a:lnSpc>
              <a:spcAft>
                <a:spcPts val="0"/>
              </a:spcAft>
              <a:buFont typeface="Arial" panose="020B0604020202020204" pitchFamily="34" charset="0"/>
              <a:buChar char="•"/>
            </a:pPr>
            <a:r>
              <a:rPr lang="en-US" sz="1200" dirty="0" err="1">
                <a:solidFill>
                  <a:prstClr val="black"/>
                </a:solidFill>
              </a:rPr>
              <a:t>Wavestone</a:t>
            </a:r>
            <a:r>
              <a:rPr lang="en-US" sz="1200" dirty="0">
                <a:solidFill>
                  <a:prstClr val="black"/>
                </a:solidFill>
              </a:rPr>
              <a:t> Deutschland, Munich: </a:t>
            </a:r>
            <a:br>
              <a:rPr lang="en-US" sz="1200" dirty="0">
                <a:solidFill>
                  <a:prstClr val="black"/>
                </a:solidFill>
              </a:rPr>
            </a:br>
            <a:r>
              <a:rPr lang="en-US" sz="1200" b="0" dirty="0">
                <a:solidFill>
                  <a:prstClr val="black"/>
                </a:solidFill>
              </a:rPr>
              <a:t>Improvement of the operational efficiency in </a:t>
            </a:r>
            <a:br>
              <a:rPr lang="en-US" sz="1200" b="0" dirty="0">
                <a:solidFill>
                  <a:prstClr val="black"/>
                </a:solidFill>
              </a:rPr>
            </a:br>
            <a:r>
              <a:rPr lang="en-US" sz="1200" b="0" dirty="0">
                <a:solidFill>
                  <a:prstClr val="black"/>
                </a:solidFill>
              </a:rPr>
              <a:t>project staffing with internal employees</a:t>
            </a:r>
          </a:p>
          <a:p>
            <a:pPr marL="171450" indent="-171450">
              <a:lnSpc>
                <a:spcPct val="95000"/>
              </a:lnSpc>
              <a:spcAft>
                <a:spcPts val="0"/>
              </a:spcAft>
              <a:buFont typeface="Arial" panose="020B0604020202020204" pitchFamily="34" charset="0"/>
              <a:buChar char="•"/>
            </a:pPr>
            <a:r>
              <a:rPr lang="en-US" sz="1200" dirty="0">
                <a:solidFill>
                  <a:prstClr val="black"/>
                </a:solidFill>
              </a:rPr>
              <a:t>Bridging-IT, Munich</a:t>
            </a:r>
            <a:r>
              <a:rPr lang="en-US" sz="1200" b="0" dirty="0">
                <a:solidFill>
                  <a:prstClr val="black"/>
                </a:solidFill>
              </a:rPr>
              <a:t>: Improvement of the operational efficiency in project staffing with freelance employees</a:t>
            </a:r>
          </a:p>
          <a:p>
            <a:pPr marL="171450" indent="-171450">
              <a:lnSpc>
                <a:spcPct val="95000"/>
              </a:lnSpc>
              <a:spcAft>
                <a:spcPts val="0"/>
              </a:spcAft>
              <a:buClr>
                <a:schemeClr val="accent1"/>
              </a:buClr>
              <a:buFont typeface="Arial" panose="020B0604020202020204" pitchFamily="34" charset="0"/>
              <a:buChar char="•"/>
              <a:defRPr/>
            </a:pPr>
            <a:r>
              <a:rPr lang="en-US" sz="1200" dirty="0">
                <a:solidFill>
                  <a:prstClr val="black"/>
                </a:solidFill>
              </a:rPr>
              <a:t>msg group, Munich:</a:t>
            </a:r>
            <a:r>
              <a:rPr lang="en-US" sz="1200" b="0" dirty="0">
                <a:solidFill>
                  <a:prstClr val="black"/>
                </a:solidFill>
              </a:rPr>
              <a:t> Utilization as basic and advanced version in connection with </a:t>
            </a:r>
            <a:r>
              <a:rPr lang="en-US" sz="1200" b="0" dirty="0" err="1">
                <a:solidFill>
                  <a:prstClr val="black"/>
                </a:solidFill>
              </a:rPr>
              <a:t>msg.MEP</a:t>
            </a:r>
            <a:endParaRPr lang="en-US" sz="1200" b="0" dirty="0">
              <a:solidFill>
                <a:prstClr val="black"/>
              </a:solidFill>
            </a:endParaRPr>
          </a:p>
          <a:p>
            <a:pPr marL="171450" indent="-171450">
              <a:lnSpc>
                <a:spcPct val="95000"/>
              </a:lnSpc>
              <a:spcAft>
                <a:spcPts val="0"/>
              </a:spcAft>
              <a:buClr>
                <a:schemeClr val="accent1"/>
              </a:buClr>
              <a:buFont typeface="Arial" panose="020B0604020202020204" pitchFamily="34" charset="0"/>
              <a:buChar char="•"/>
              <a:defRPr/>
            </a:pPr>
            <a:r>
              <a:rPr lang="en-US" sz="1200" dirty="0">
                <a:solidFill>
                  <a:prstClr val="black"/>
                </a:solidFill>
              </a:rPr>
              <a:t>A.T. Kearney, London</a:t>
            </a:r>
            <a:r>
              <a:rPr lang="en-US" sz="1200" b="0" dirty="0">
                <a:solidFill>
                  <a:prstClr val="black"/>
                </a:solidFill>
              </a:rPr>
              <a:t>: Utilization in connection with Kearney application PACT for workforce transformation</a:t>
            </a:r>
          </a:p>
        </p:txBody>
      </p:sp>
      <p:grpSp>
        <p:nvGrpSpPr>
          <p:cNvPr id="4" name="Gruppieren 3">
            <a:extLst>
              <a:ext uri="{FF2B5EF4-FFF2-40B4-BE49-F238E27FC236}">
                <a16:creationId xmlns:a16="http://schemas.microsoft.com/office/drawing/2014/main" id="{36AB4CF6-9CD5-1C16-BA35-EAD5EA48B0AF}"/>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A1A7E8C3-5238-092A-0035-ABC182178605}"/>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6" name="Grafik 5">
              <a:extLst>
                <a:ext uri="{FF2B5EF4-FFF2-40B4-BE49-F238E27FC236}">
                  <a16:creationId xmlns:a16="http://schemas.microsoft.com/office/drawing/2014/main" id="{4F4A67DE-EB76-12BC-4B6F-77C0557F4A66}"/>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8BD1A064-6692-F8FE-2AF8-EDF56A62E29D}"/>
              </a:ext>
            </a:extLst>
          </p:cNvPr>
          <p:cNvGrpSpPr/>
          <p:nvPr/>
        </p:nvGrpSpPr>
        <p:grpSpPr>
          <a:xfrm>
            <a:off x="8761542" y="4103379"/>
            <a:ext cx="703694" cy="703694"/>
            <a:chOff x="8575325" y="4111833"/>
            <a:chExt cx="869145" cy="869145"/>
          </a:xfrm>
        </p:grpSpPr>
        <p:sp>
          <p:nvSpPr>
            <p:cNvPr id="9" name="Kreis: nicht ausgefüllt 8">
              <a:extLst>
                <a:ext uri="{FF2B5EF4-FFF2-40B4-BE49-F238E27FC236}">
                  <a16:creationId xmlns:a16="http://schemas.microsoft.com/office/drawing/2014/main" id="{0E7AA1D0-056E-962A-9658-9B31FF6E23CA}"/>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1" name="Grafik 10">
              <a:extLst>
                <a:ext uri="{FF2B5EF4-FFF2-40B4-BE49-F238E27FC236}">
                  <a16:creationId xmlns:a16="http://schemas.microsoft.com/office/drawing/2014/main" id="{3080BD8D-0CA9-ADB3-5384-62B620C99CC9}"/>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49B35AE6-B217-444F-9B12-8DC19CF16CC4}"/>
              </a:ext>
            </a:extLst>
          </p:cNvPr>
          <p:cNvGrpSpPr/>
          <p:nvPr/>
        </p:nvGrpSpPr>
        <p:grpSpPr>
          <a:xfrm>
            <a:off x="4138804" y="4103379"/>
            <a:ext cx="703694" cy="703694"/>
            <a:chOff x="3460071" y="4111833"/>
            <a:chExt cx="869145" cy="869145"/>
          </a:xfrm>
        </p:grpSpPr>
        <p:sp>
          <p:nvSpPr>
            <p:cNvPr id="15" name="Kreis: nicht ausgefüllt 14">
              <a:extLst>
                <a:ext uri="{FF2B5EF4-FFF2-40B4-BE49-F238E27FC236}">
                  <a16:creationId xmlns:a16="http://schemas.microsoft.com/office/drawing/2014/main" id="{AB5B4312-3BE8-04B8-9D85-E0FD33899A28}"/>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7" name="Grafik 16">
              <a:extLst>
                <a:ext uri="{FF2B5EF4-FFF2-40B4-BE49-F238E27FC236}">
                  <a16:creationId xmlns:a16="http://schemas.microsoft.com/office/drawing/2014/main" id="{A192C778-081B-75F7-3079-8F1E33D3FB36}"/>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A531EE27-7B0A-9ADF-6AB6-B78B9189B9E4}"/>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4416C73D-ABB3-3F82-6F50-B1219D64C9EC}"/>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21" name="Grafik 20">
              <a:extLst>
                <a:ext uri="{FF2B5EF4-FFF2-40B4-BE49-F238E27FC236}">
                  <a16:creationId xmlns:a16="http://schemas.microsoft.com/office/drawing/2014/main" id="{592B6AEB-B7FE-30AB-A15C-6683DB5C33C7}"/>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sp>
        <p:nvSpPr>
          <p:cNvPr id="2" name="TextBox 1">
            <a:extLst>
              <a:ext uri="{FF2B5EF4-FFF2-40B4-BE49-F238E27FC236}">
                <a16:creationId xmlns:a16="http://schemas.microsoft.com/office/drawing/2014/main" id="{E433BB93-A6AC-F6CA-30D9-32446EECF647}"/>
              </a:ext>
            </a:extLst>
          </p:cNvPr>
          <p:cNvSpPr txBox="1"/>
          <p:nvPr/>
        </p:nvSpPr>
        <p:spPr>
          <a:xfrm>
            <a:off x="10111348" y="2305731"/>
            <a:ext cx="1551227" cy="2308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de-DE"/>
            </a:defPPr>
            <a:lvl1pPr algn="ctr">
              <a:defRPr sz="1400" b="1"/>
            </a:lvl1pPr>
          </a:lstStyle>
          <a:p>
            <a:r>
              <a:rPr lang="en-US" sz="1500" dirty="0" err="1"/>
              <a:t>msg.ProfileMap</a:t>
            </a:r>
            <a:endParaRPr lang="en-US" sz="1500" dirty="0"/>
          </a:p>
        </p:txBody>
      </p:sp>
    </p:spTree>
    <p:extLst>
      <p:ext uri="{BB962C8B-B14F-4D97-AF65-F5344CB8AC3E}">
        <p14:creationId xmlns:p14="http://schemas.microsoft.com/office/powerpoint/2010/main" val="15561325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71677-F259-E4C9-2A93-9D4F8DEF7840}"/>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3A2AC649-346D-0D34-24C9-116EAD9A86E2}"/>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en-US" sz="1200" b="1">
                <a:ea typeface=""/>
                <a:cs typeface="+mn-lt"/>
              </a:rPr>
              <a:t>Contact person</a:t>
            </a:r>
          </a:p>
          <a:p>
            <a:r>
              <a:rPr lang="en-US" sz="1200">
                <a:ea typeface=""/>
                <a:cs typeface="+mn-lt"/>
              </a:rPr>
              <a:t>Stefan Walter</a:t>
            </a:r>
          </a:p>
          <a:p>
            <a:r>
              <a:rPr lang="en-US" sz="1200">
                <a:solidFill>
                  <a:srgbClr val="FFFFFF"/>
                </a:solidFill>
                <a:ea typeface=""/>
                <a:cs typeface="+mn-lt"/>
              </a:rPr>
              <a:t>+49 172 4632842</a:t>
            </a:r>
          </a:p>
          <a:p>
            <a:r>
              <a:rPr lang="en-US" sz="1200">
                <a:ea typeface=""/>
                <a:cs typeface="+mn-lt"/>
              </a:rPr>
              <a:t>Stefan.Walter@msg.group</a:t>
            </a:r>
          </a:p>
        </p:txBody>
      </p:sp>
      <p:sp>
        <p:nvSpPr>
          <p:cNvPr id="10" name="Titel 11">
            <a:extLst>
              <a:ext uri="{FF2B5EF4-FFF2-40B4-BE49-F238E27FC236}">
                <a16:creationId xmlns:a16="http://schemas.microsoft.com/office/drawing/2014/main" id="{211B550C-0F69-40F0-CDF3-36607BAB3743}"/>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31" name="Textplatzhalter 30">
            <a:extLst>
              <a:ext uri="{FF2B5EF4-FFF2-40B4-BE49-F238E27FC236}">
                <a16:creationId xmlns:a16="http://schemas.microsoft.com/office/drawing/2014/main" id="{59AA88F4-7E05-3502-C9E5-CCADCF16ACA5}"/>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4D3E4215-DEA9-E98F-C3EB-4C7F8FAF9215}"/>
              </a:ext>
            </a:extLst>
          </p:cNvPr>
          <p:cNvSpPr>
            <a:spLocks noGrp="1"/>
          </p:cNvSpPr>
          <p:nvPr>
            <p:ph type="title"/>
          </p:nvPr>
        </p:nvSpPr>
        <p:spPr/>
        <p:txBody>
          <a:bodyPr vert="horz"/>
          <a:lstStyle/>
          <a:p>
            <a:r>
              <a:rPr lang="en-US"/>
              <a:t>Connects systems, unifies vocabulary, creates understanding</a:t>
            </a:r>
            <a:br>
              <a:rPr lang="en-US"/>
            </a:br>
            <a:r>
              <a:rPr lang="en-US" b="1"/>
              <a:t>msg.SemanticBridge</a:t>
            </a:r>
          </a:p>
        </p:txBody>
      </p:sp>
      <p:sp>
        <p:nvSpPr>
          <p:cNvPr id="14" name="Fußzeilenplatzhalter 1">
            <a:extLst>
              <a:ext uri="{FF2B5EF4-FFF2-40B4-BE49-F238E27FC236}">
                <a16:creationId xmlns:a16="http://schemas.microsoft.com/office/drawing/2014/main" id="{6EBF5348-A7F7-BFF8-4C4F-2B4B9CCD1D99}"/>
              </a:ext>
            </a:extLst>
          </p:cNvPr>
          <p:cNvSpPr>
            <a:spLocks noGrp="1"/>
          </p:cNvSpPr>
          <p:nvPr>
            <p:ph type="ftr" sz="quarter" idx="10"/>
          </p:nvPr>
        </p:nvSpPr>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9BAC2B2A-70B6-E58B-F085-326A73B331B5}"/>
              </a:ext>
            </a:extLst>
          </p:cNvPr>
          <p:cNvSpPr>
            <a:spLocks noGrp="1"/>
          </p:cNvSpPr>
          <p:nvPr>
            <p:ph type="sldNum" sz="quarter" idx="11"/>
          </p:nvPr>
        </p:nvSpPr>
        <p:spPr/>
        <p:txBody>
          <a:bodyPr/>
          <a:lstStyle/>
          <a:p>
            <a:fld id="{B27B0579-4238-4E44-9A9E-134B676F827C}" type="slidenum">
              <a:rPr lang="de-DE" smtClean="0"/>
              <a:pPr/>
              <a:t>44</a:t>
            </a:fld>
            <a:endParaRPr lang="de-DE"/>
          </a:p>
        </p:txBody>
      </p:sp>
      <p:cxnSp>
        <p:nvCxnSpPr>
          <p:cNvPr id="20" name="Gerader Verbinder 19">
            <a:extLst>
              <a:ext uri="{FF2B5EF4-FFF2-40B4-BE49-F238E27FC236}">
                <a16:creationId xmlns:a16="http://schemas.microsoft.com/office/drawing/2014/main" id="{194296B9-D568-F28A-9615-E779C1A758C1}"/>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939ADCD-2A5A-2255-558A-B828227F6DF1}"/>
              </a:ext>
            </a:extLst>
          </p:cNvPr>
          <p:cNvSpPr txBox="1"/>
          <p:nvPr>
            <p:custDataLst>
              <p:tags r:id="rId3"/>
            </p:custDataLst>
          </p:nvPr>
        </p:nvSpPr>
        <p:spPr>
          <a:xfrm>
            <a:off x="623602" y="1782594"/>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Your Challenge</a:t>
            </a:r>
          </a:p>
          <a:p>
            <a:pPr marL="285750" indent="-285750">
              <a:lnSpc>
                <a:spcPct val="95000"/>
              </a:lnSpc>
              <a:buFont typeface="Arial" panose="020B0604020202020204" pitchFamily="34" charset="0"/>
              <a:buChar char="•"/>
            </a:pPr>
            <a:r>
              <a:rPr lang="en-US" sz="1200" b="1" dirty="0"/>
              <a:t>Inconsistent data quality:</a:t>
            </a:r>
            <a:r>
              <a:rPr lang="en-US" sz="1400" b="1" dirty="0"/>
              <a:t> </a:t>
            </a:r>
            <a:r>
              <a:rPr lang="en-US" sz="1200" dirty="0"/>
              <a:t>Lead to errors in </a:t>
            </a:r>
            <a:br>
              <a:rPr lang="en-US" sz="1200" dirty="0"/>
            </a:br>
            <a:r>
              <a:rPr lang="en-US" sz="1200" dirty="0"/>
              <a:t>central business processes </a:t>
            </a:r>
          </a:p>
          <a:p>
            <a:pPr marL="285750" indent="-285750">
              <a:lnSpc>
                <a:spcPct val="95000"/>
              </a:lnSpc>
              <a:buFont typeface="Arial" panose="020B0604020202020204" pitchFamily="34" charset="0"/>
              <a:buChar char="•"/>
            </a:pPr>
            <a:r>
              <a:rPr lang="en-US" sz="1200" b="1" dirty="0"/>
              <a:t>Manual postprocessing: </a:t>
            </a:r>
            <a:r>
              <a:rPr lang="en-US" sz="1200" dirty="0"/>
              <a:t>Excessive manual postprocessing to correct inaccurate data, consuming valuable time and resources</a:t>
            </a:r>
          </a:p>
          <a:p>
            <a:pPr marL="285750" indent="-285750">
              <a:lnSpc>
                <a:spcPct val="95000"/>
              </a:lnSpc>
              <a:buFont typeface="Arial" panose="020B0604020202020204" pitchFamily="34" charset="0"/>
              <a:buChar char="•"/>
            </a:pPr>
            <a:r>
              <a:rPr lang="en-US" sz="1200" b="1" dirty="0"/>
              <a:t>Unstructured data: </a:t>
            </a:r>
            <a:r>
              <a:rPr lang="en-US" sz="1200" dirty="0"/>
              <a:t>Incomplete or incorrect data integration by handling unstructured documents </a:t>
            </a:r>
          </a:p>
          <a:p>
            <a:pPr marL="0" lvl="1" indent="0">
              <a:lnSpc>
                <a:spcPct val="95000"/>
              </a:lnSpc>
              <a:spcAft>
                <a:spcPts val="200"/>
              </a:spcAft>
              <a:buNone/>
            </a:pPr>
            <a:endParaRPr lang="de-DE" sz="1200" dirty="0"/>
          </a:p>
          <a:p>
            <a:pPr marL="0" indent="0">
              <a:lnSpc>
                <a:spcPct val="95000"/>
              </a:lnSpc>
              <a:spcAft>
                <a:spcPts val="200"/>
              </a:spcAft>
              <a:buFont typeface="Wingdings" panose="05000000000000000000" pitchFamily="2" charset="2"/>
              <a:buNone/>
            </a:pPr>
            <a:endParaRPr lang="de-DE" sz="1400" dirty="0"/>
          </a:p>
        </p:txBody>
      </p:sp>
      <p:sp>
        <p:nvSpPr>
          <p:cNvPr id="26" name="Textfeld 25">
            <a:extLst>
              <a:ext uri="{FF2B5EF4-FFF2-40B4-BE49-F238E27FC236}">
                <a16:creationId xmlns:a16="http://schemas.microsoft.com/office/drawing/2014/main" id="{5C203388-6748-D297-5A08-D7E182712156}"/>
              </a:ext>
            </a:extLst>
          </p:cNvPr>
          <p:cNvSpPr txBox="1"/>
          <p:nvPr>
            <p:custDataLst>
              <p:tags r:id="rId4"/>
            </p:custDataLst>
          </p:nvPr>
        </p:nvSpPr>
        <p:spPr>
          <a:xfrm>
            <a:off x="5227890" y="1768083"/>
            <a:ext cx="3536722" cy="2176462"/>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200" b="1"/>
              <a:t>Your Benefits</a:t>
            </a:r>
          </a:p>
          <a:p>
            <a:pPr marL="285750" indent="-285750">
              <a:lnSpc>
                <a:spcPct val="95000"/>
              </a:lnSpc>
              <a:buFont typeface="Arial" panose="020B0604020202020204" pitchFamily="34" charset="0"/>
              <a:buChar char="•"/>
            </a:pPr>
            <a:r>
              <a:rPr lang="en-US" sz="1200" b="1">
                <a:ea typeface=""/>
              </a:rPr>
              <a:t>Additional benefit: </a:t>
            </a:r>
            <a:r>
              <a:rPr lang="en-US" sz="1200">
                <a:ea typeface=""/>
              </a:rPr>
              <a:t>Efficiency, quality and cost reduction by assisting processes</a:t>
            </a:r>
          </a:p>
          <a:p>
            <a:pPr marL="285750" indent="-285750">
              <a:lnSpc>
                <a:spcPct val="95000"/>
              </a:lnSpc>
              <a:buFont typeface="Arial" panose="020B0604020202020204" pitchFamily="34" charset="0"/>
              <a:buChar char="•"/>
            </a:pPr>
            <a:r>
              <a:rPr lang="en-US" sz="1200" b="1">
                <a:ea typeface=""/>
              </a:rPr>
              <a:t>Optimization of support processes</a:t>
            </a:r>
            <a:r>
              <a:rPr lang="en-US" sz="1200">
                <a:ea typeface=""/>
              </a:rPr>
              <a:t> through AI-based digitalization of unstructured documents</a:t>
            </a:r>
          </a:p>
          <a:p>
            <a:pPr marL="285750" indent="-285750">
              <a:lnSpc>
                <a:spcPct val="95000"/>
              </a:lnSpc>
              <a:buFont typeface="Arial" panose="020B0604020202020204" pitchFamily="34" charset="0"/>
              <a:buChar char="•"/>
            </a:pPr>
            <a:r>
              <a:rPr lang="en-US" sz="1200" b="1">
                <a:ea typeface=""/>
              </a:rPr>
              <a:t>Core functions as basis: </a:t>
            </a:r>
            <a:r>
              <a:rPr lang="en-US" sz="1200">
                <a:ea typeface=""/>
              </a:rPr>
              <a:t>Automated processing, integration and vocabulary management</a:t>
            </a:r>
          </a:p>
          <a:p>
            <a:pPr marL="285750" indent="-285750">
              <a:lnSpc>
                <a:spcPct val="95000"/>
              </a:lnSpc>
              <a:buFont typeface="Arial" panose="020B0604020202020204" pitchFamily="34" charset="0"/>
              <a:buChar char="•"/>
            </a:pPr>
            <a:endParaRPr lang="de-DE" sz="1400" dirty="0">
              <a:ea typeface="Times New Roman" panose="02020603050405020304" pitchFamily="18" charset="0"/>
            </a:endParaRPr>
          </a:p>
          <a:p>
            <a:pPr marL="215900" lvl="1" indent="-215900">
              <a:lnSpc>
                <a:spcPct val="95000"/>
              </a:lnSpc>
              <a:spcAft>
                <a:spcPts val="200"/>
              </a:spcAft>
            </a:pPr>
            <a:endParaRPr lang="de-DE" sz="1100" dirty="0"/>
          </a:p>
        </p:txBody>
      </p:sp>
      <p:sp>
        <p:nvSpPr>
          <p:cNvPr id="28" name="Textfeld 27">
            <a:extLst>
              <a:ext uri="{FF2B5EF4-FFF2-40B4-BE49-F238E27FC236}">
                <a16:creationId xmlns:a16="http://schemas.microsoft.com/office/drawing/2014/main" id="{033C45F1-BF55-37D5-E592-9BCA29522385}"/>
              </a:ext>
            </a:extLst>
          </p:cNvPr>
          <p:cNvSpPr txBox="1"/>
          <p:nvPr>
            <p:custDataLst>
              <p:tags r:id="rId5"/>
            </p:custDataLst>
          </p:nvPr>
        </p:nvSpPr>
        <p:spPr>
          <a:xfrm>
            <a:off x="653195" y="3983531"/>
            <a:ext cx="4292063" cy="2114182"/>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Our Offering</a:t>
            </a:r>
          </a:p>
          <a:p>
            <a:pPr marL="219075" indent="-219075">
              <a:lnSpc>
                <a:spcPct val="95000"/>
              </a:lnSpc>
              <a:buFont typeface="Arial" panose="020B0604020202020204" pitchFamily="34" charset="0"/>
              <a:buChar char="•"/>
            </a:pPr>
            <a:r>
              <a:rPr lang="en-US" sz="1200" b="1" dirty="0">
                <a:solidFill>
                  <a:srgbClr val="000000"/>
                </a:solidFill>
                <a:latin typeface="Aptos"/>
              </a:rPr>
              <a:t>msg.SemanticBridge </a:t>
            </a:r>
            <a:r>
              <a:rPr lang="en-US" sz="1200" dirty="0">
                <a:solidFill>
                  <a:srgbClr val="000000"/>
                </a:solidFill>
                <a:latin typeface="Aptos"/>
              </a:rPr>
              <a:t>is a leading AI SaaS </a:t>
            </a:r>
            <a:br>
              <a:rPr lang="en-US" sz="1200" dirty="0">
                <a:solidFill>
                  <a:srgbClr val="000000"/>
                </a:solidFill>
                <a:latin typeface="Aptos"/>
              </a:rPr>
            </a:br>
            <a:r>
              <a:rPr lang="en-US" sz="1200" dirty="0">
                <a:solidFill>
                  <a:srgbClr val="000000"/>
                </a:solidFill>
                <a:latin typeface="Aptos"/>
              </a:rPr>
              <a:t>solution for semantic data harmonization and </a:t>
            </a:r>
            <a:br>
              <a:rPr lang="en-US" sz="1200" dirty="0">
                <a:solidFill>
                  <a:srgbClr val="000000"/>
                </a:solidFill>
                <a:latin typeface="Aptos"/>
              </a:rPr>
            </a:br>
            <a:r>
              <a:rPr lang="en-US" sz="1200" dirty="0">
                <a:solidFill>
                  <a:srgbClr val="000000"/>
                </a:solidFill>
                <a:latin typeface="Aptos"/>
              </a:rPr>
              <a:t>data integration</a:t>
            </a:r>
          </a:p>
          <a:p>
            <a:pPr marL="219075" indent="-219075">
              <a:lnSpc>
                <a:spcPct val="95000"/>
              </a:lnSpc>
              <a:buFont typeface="Arial" panose="020B0604020202020204" pitchFamily="34" charset="0"/>
              <a:buChar char="•"/>
            </a:pPr>
            <a:r>
              <a:rPr lang="en-US" sz="1200" dirty="0">
                <a:solidFill>
                  <a:srgbClr val="000000"/>
                </a:solidFill>
                <a:latin typeface="Aptos"/>
              </a:rPr>
              <a:t>Provides </a:t>
            </a:r>
            <a:r>
              <a:rPr lang="en-US" sz="1200" b="1" dirty="0">
                <a:solidFill>
                  <a:srgbClr val="000000"/>
                </a:solidFill>
                <a:latin typeface="Aptos"/>
              </a:rPr>
              <a:t>high data quality</a:t>
            </a:r>
            <a:r>
              <a:rPr lang="en-US" sz="1200" dirty="0">
                <a:solidFill>
                  <a:srgbClr val="000000"/>
                </a:solidFill>
                <a:latin typeface="Aptos"/>
              </a:rPr>
              <a:t> and accuracy, reduces manual postprocessing and accelerates central processes</a:t>
            </a:r>
          </a:p>
          <a:p>
            <a:pPr marL="219075" indent="-219075">
              <a:lnSpc>
                <a:spcPct val="95000"/>
              </a:lnSpc>
              <a:buFont typeface="Arial" panose="020B0604020202020204" pitchFamily="34" charset="0"/>
              <a:buChar char="•"/>
            </a:pPr>
            <a:r>
              <a:rPr lang="en-US" sz="1200" dirty="0">
                <a:solidFill>
                  <a:srgbClr val="000000"/>
                </a:solidFill>
                <a:latin typeface="Aptos"/>
              </a:rPr>
              <a:t>Automation of processing unstructured documents and improving </a:t>
            </a:r>
            <a:r>
              <a:rPr lang="en-US" sz="1200" b="1" dirty="0">
                <a:solidFill>
                  <a:srgbClr val="000000"/>
                </a:solidFill>
                <a:latin typeface="Aptos"/>
              </a:rPr>
              <a:t>data integration</a:t>
            </a:r>
          </a:p>
          <a:p>
            <a:pPr marL="219075" indent="-219075">
              <a:lnSpc>
                <a:spcPct val="95000"/>
              </a:lnSpc>
              <a:buFont typeface="Arial" panose="020B0604020202020204" pitchFamily="34" charset="0"/>
              <a:buChar char="•"/>
            </a:pPr>
            <a:r>
              <a:rPr lang="en-US" sz="1200" dirty="0">
                <a:solidFill>
                  <a:srgbClr val="000000"/>
                </a:solidFill>
                <a:latin typeface="Aptos"/>
              </a:rPr>
              <a:t>Is an ideal basis for GenAI use cases and comprehensive analyses</a:t>
            </a:r>
          </a:p>
          <a:p>
            <a:pPr>
              <a:lnSpc>
                <a:spcPct val="95000"/>
              </a:lnSpc>
              <a:spcAft>
                <a:spcPts val="200"/>
              </a:spcAft>
            </a:pPr>
            <a:endParaRPr lang="de-DE" sz="1400" dirty="0"/>
          </a:p>
        </p:txBody>
      </p:sp>
      <p:sp>
        <p:nvSpPr>
          <p:cNvPr id="30" name="Textfeld 29">
            <a:extLst>
              <a:ext uri="{FF2B5EF4-FFF2-40B4-BE49-F238E27FC236}">
                <a16:creationId xmlns:a16="http://schemas.microsoft.com/office/drawing/2014/main" id="{3C5CFDAF-5360-818C-148B-278CE33F2FC0}"/>
              </a:ext>
            </a:extLst>
          </p:cNvPr>
          <p:cNvSpPr txBox="1"/>
          <p:nvPr>
            <p:custDataLst>
              <p:tags r:id="rId6"/>
            </p:custDataLst>
          </p:nvPr>
        </p:nvSpPr>
        <p:spPr>
          <a:xfrm>
            <a:off x="5227890" y="3983531"/>
            <a:ext cx="3778873" cy="1350962"/>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a:t>Our Partners and References</a:t>
            </a:r>
          </a:p>
          <a:p>
            <a:pPr marL="215900" lvl="1" indent="-215900">
              <a:lnSpc>
                <a:spcPct val="95000"/>
              </a:lnSpc>
              <a:spcAft>
                <a:spcPts val="200"/>
              </a:spcAft>
              <a:buClr>
                <a:srgbClr val="A01441"/>
              </a:buClr>
            </a:pPr>
            <a:r>
              <a:rPr lang="en-US" sz="1200"/>
              <a:t>Deutscher Sparkassen Verband – "Sparkassen Recruiting Plattform" (Savings bank recruiting platform)</a:t>
            </a:r>
          </a:p>
          <a:p>
            <a:pPr marL="215900" lvl="1" indent="-215900">
              <a:lnSpc>
                <a:spcPct val="95000"/>
              </a:lnSpc>
              <a:spcAft>
                <a:spcPts val="200"/>
              </a:spcAft>
              <a:buClr>
                <a:srgbClr val="A01441"/>
              </a:buClr>
            </a:pPr>
            <a:r>
              <a:rPr lang="en-US" sz="1200"/>
              <a:t>A.T. KEARNEY – "Strategic Workforce Management"</a:t>
            </a:r>
          </a:p>
          <a:p>
            <a:pPr marL="215900" lvl="1" indent="-215900">
              <a:lnSpc>
                <a:spcPct val="95000"/>
              </a:lnSpc>
              <a:spcAft>
                <a:spcPts val="200"/>
              </a:spcAft>
              <a:buClr>
                <a:srgbClr val="A01441"/>
              </a:buClr>
            </a:pPr>
            <a:r>
              <a:rPr lang="en-US" sz="1200"/>
              <a:t>msg systems – "msg.ProfileMap CV-Parsing and Data Harmonization"</a:t>
            </a:r>
          </a:p>
        </p:txBody>
      </p:sp>
      <p:grpSp>
        <p:nvGrpSpPr>
          <p:cNvPr id="4" name="Gruppieren 3">
            <a:extLst>
              <a:ext uri="{FF2B5EF4-FFF2-40B4-BE49-F238E27FC236}">
                <a16:creationId xmlns:a16="http://schemas.microsoft.com/office/drawing/2014/main" id="{8199D825-9566-262D-0B8A-2CAF08539B5B}"/>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8D808ECB-3FD4-91BD-E973-B27FF3A46D1D}"/>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6" name="Grafik 5">
              <a:extLst>
                <a:ext uri="{FF2B5EF4-FFF2-40B4-BE49-F238E27FC236}">
                  <a16:creationId xmlns:a16="http://schemas.microsoft.com/office/drawing/2014/main" id="{5D8366C5-17C0-DF06-E862-2F8753DA9F3D}"/>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F1F5FFA5-DE2A-0B66-5437-C7220B464679}"/>
              </a:ext>
            </a:extLst>
          </p:cNvPr>
          <p:cNvGrpSpPr/>
          <p:nvPr/>
        </p:nvGrpSpPr>
        <p:grpSpPr>
          <a:xfrm>
            <a:off x="8761542" y="3981459"/>
            <a:ext cx="703694" cy="703694"/>
            <a:chOff x="8575325" y="4111833"/>
            <a:chExt cx="869145" cy="869145"/>
          </a:xfrm>
        </p:grpSpPr>
        <p:sp>
          <p:nvSpPr>
            <p:cNvPr id="9" name="Kreis: nicht ausgefüllt 8">
              <a:extLst>
                <a:ext uri="{FF2B5EF4-FFF2-40B4-BE49-F238E27FC236}">
                  <a16:creationId xmlns:a16="http://schemas.microsoft.com/office/drawing/2014/main" id="{C09CBE8C-5A26-BDBA-BB89-1AA7531194CC}"/>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1" name="Grafik 10">
              <a:extLst>
                <a:ext uri="{FF2B5EF4-FFF2-40B4-BE49-F238E27FC236}">
                  <a16:creationId xmlns:a16="http://schemas.microsoft.com/office/drawing/2014/main" id="{8645CDA8-50AD-FDD2-87C6-51F41E503B6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4FDA4867-877D-D007-67CF-2E43F305AE65}"/>
              </a:ext>
            </a:extLst>
          </p:cNvPr>
          <p:cNvGrpSpPr/>
          <p:nvPr/>
        </p:nvGrpSpPr>
        <p:grpSpPr>
          <a:xfrm>
            <a:off x="4138804" y="3981459"/>
            <a:ext cx="703694" cy="703694"/>
            <a:chOff x="3460071" y="4111833"/>
            <a:chExt cx="869145" cy="869145"/>
          </a:xfrm>
        </p:grpSpPr>
        <p:sp>
          <p:nvSpPr>
            <p:cNvPr id="15" name="Kreis: nicht ausgefüllt 14">
              <a:extLst>
                <a:ext uri="{FF2B5EF4-FFF2-40B4-BE49-F238E27FC236}">
                  <a16:creationId xmlns:a16="http://schemas.microsoft.com/office/drawing/2014/main" id="{D947D8BD-B41F-E34C-8633-FC2A8E03C5B9}"/>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7" name="Grafik 16">
              <a:extLst>
                <a:ext uri="{FF2B5EF4-FFF2-40B4-BE49-F238E27FC236}">
                  <a16:creationId xmlns:a16="http://schemas.microsoft.com/office/drawing/2014/main" id="{E6B950D0-1824-387A-05DE-84CD56A11BA7}"/>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C4763643-D17C-4C4A-0D0E-1DA3FDE678BF}"/>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CE1FA356-A2B2-D35F-767B-706EDB8B2D84}"/>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21" name="Grafik 20">
              <a:extLst>
                <a:ext uri="{FF2B5EF4-FFF2-40B4-BE49-F238E27FC236}">
                  <a16:creationId xmlns:a16="http://schemas.microsoft.com/office/drawing/2014/main" id="{2C02D29D-A293-50B6-3B1D-A77E5F59D66B}"/>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sp>
        <p:nvSpPr>
          <p:cNvPr id="2" name="TextBox 1">
            <a:extLst>
              <a:ext uri="{FF2B5EF4-FFF2-40B4-BE49-F238E27FC236}">
                <a16:creationId xmlns:a16="http://schemas.microsoft.com/office/drawing/2014/main" id="{7A0E083E-2CD4-9D30-8A33-6F2762EE3624}"/>
              </a:ext>
            </a:extLst>
          </p:cNvPr>
          <p:cNvSpPr txBox="1"/>
          <p:nvPr/>
        </p:nvSpPr>
        <p:spPr>
          <a:xfrm>
            <a:off x="9842453" y="2325226"/>
            <a:ext cx="2067164" cy="2308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de-DE"/>
            </a:defPPr>
            <a:lvl1pPr algn="ctr">
              <a:defRPr sz="1500" b="1"/>
            </a:lvl1pPr>
          </a:lstStyle>
          <a:p>
            <a:r>
              <a:rPr lang="en-US" dirty="0" err="1"/>
              <a:t>msg.SemanticBridge</a:t>
            </a:r>
            <a:endParaRPr lang="en-US" dirty="0"/>
          </a:p>
        </p:txBody>
      </p:sp>
    </p:spTree>
    <p:extLst>
      <p:ext uri="{BB962C8B-B14F-4D97-AF65-F5344CB8AC3E}">
        <p14:creationId xmlns:p14="http://schemas.microsoft.com/office/powerpoint/2010/main" val="8731042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B939C-E99B-3C45-AA65-F0EBCA0B3B0A}"/>
            </a:ext>
          </a:extLst>
        </p:cNvPr>
        <p:cNvGrpSpPr/>
        <p:nvPr/>
      </p:nvGrpSpPr>
      <p:grpSpPr>
        <a:xfrm>
          <a:off x="0" y="0"/>
          <a:ext cx="0" cy="0"/>
          <a:chOff x="0" y="0"/>
          <a:chExt cx="0" cy="0"/>
        </a:xfrm>
      </p:grpSpPr>
      <p:sp>
        <p:nvSpPr>
          <p:cNvPr id="8" name="Rechteck: diagonal liegende Ecken abgerundet 7">
            <a:extLst>
              <a:ext uri="{FF2B5EF4-FFF2-40B4-BE49-F238E27FC236}">
                <a16:creationId xmlns:a16="http://schemas.microsoft.com/office/drawing/2014/main" id="{62C861D3-AC97-9BA9-DB88-9DD76B16F70F}"/>
              </a:ext>
            </a:extLst>
          </p:cNvPr>
          <p:cNvSpPr/>
          <p:nvPr>
            <p:custDataLst>
              <p:tags r:id="rId1"/>
            </p:custDataLst>
          </p:nvPr>
        </p:nvSpPr>
        <p:spPr>
          <a:xfrm>
            <a:off x="9671370" y="1781092"/>
            <a:ext cx="2685600" cy="4311733"/>
          </a:xfrm>
          <a:prstGeom prst="round2DiagRect">
            <a:avLst>
              <a:gd name="adj1" fmla="val 0"/>
              <a:gd name="adj2" fmla="val 5916"/>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252000" tIns="2340000" rIns="108000" bIns="72000" rtlCol="0" anchor="t" anchorCtr="0"/>
          <a:lstStyle/>
          <a:p>
            <a:r>
              <a:rPr lang="en-US" sz="1200" b="1">
                <a:ea typeface=""/>
                <a:cs typeface="+mn-lt"/>
              </a:rPr>
              <a:t>Contact person</a:t>
            </a:r>
          </a:p>
          <a:p>
            <a:r>
              <a:rPr lang="en-US" sz="1200">
                <a:ea typeface=""/>
                <a:cs typeface="+mn-lt"/>
              </a:rPr>
              <a:t>Stefan Walter</a:t>
            </a:r>
          </a:p>
          <a:p>
            <a:r>
              <a:rPr lang="en-US" sz="1200">
                <a:ea typeface=""/>
                <a:cs typeface="+mn-lt"/>
              </a:rPr>
              <a:t>+49 172 4632842</a:t>
            </a:r>
          </a:p>
          <a:p>
            <a:r>
              <a:rPr lang="en-US" sz="1200">
                <a:ea typeface=""/>
                <a:cs typeface="+mn-lt"/>
              </a:rPr>
              <a:t>Stefan.Walter@msg.group</a:t>
            </a:r>
          </a:p>
        </p:txBody>
      </p:sp>
      <p:sp>
        <p:nvSpPr>
          <p:cNvPr id="10" name="Titel 11">
            <a:extLst>
              <a:ext uri="{FF2B5EF4-FFF2-40B4-BE49-F238E27FC236}">
                <a16:creationId xmlns:a16="http://schemas.microsoft.com/office/drawing/2014/main" id="{907C10CB-DB34-FC62-F9A4-EED69EBC62E6}"/>
              </a:ext>
            </a:extLst>
          </p:cNvPr>
          <p:cNvSpPr txBox="1">
            <a:spLocks/>
          </p:cNvSpPr>
          <p:nvPr>
            <p:custDataLst>
              <p:tags r:id="rId2"/>
            </p:custDataLst>
          </p:nvPr>
        </p:nvSpPr>
        <p:spPr bwMode="gray">
          <a:xfrm>
            <a:off x="9920288" y="2110176"/>
            <a:ext cx="1951038" cy="637694"/>
          </a:xfrm>
          <a:prstGeom prst="round2DiagRect">
            <a:avLst>
              <a:gd name="adj1" fmla="val 0"/>
              <a:gd name="adj2" fmla="val 13081"/>
            </a:avLst>
          </a:pr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endParaRPr lang="de-DE" sz="1100">
              <a:latin typeface="+mn-lt"/>
            </a:endParaRPr>
          </a:p>
        </p:txBody>
      </p:sp>
      <p:sp>
        <p:nvSpPr>
          <p:cNvPr id="31" name="Textplatzhalter 30">
            <a:extLst>
              <a:ext uri="{FF2B5EF4-FFF2-40B4-BE49-F238E27FC236}">
                <a16:creationId xmlns:a16="http://schemas.microsoft.com/office/drawing/2014/main" id="{174FD082-8984-D050-3C32-6058BDA8EEDA}"/>
              </a:ext>
            </a:extLst>
          </p:cNvPr>
          <p:cNvSpPr>
            <a:spLocks noGrp="1"/>
          </p:cNvSpPr>
          <p:nvPr>
            <p:ph type="body" sz="quarter" idx="12"/>
          </p:nvPr>
        </p:nvSpPr>
        <p:spPr/>
        <p:txBody>
          <a:bodyPr/>
          <a:lstStyle/>
          <a:p>
            <a:endParaRPr lang="de-DE"/>
          </a:p>
        </p:txBody>
      </p:sp>
      <p:sp>
        <p:nvSpPr>
          <p:cNvPr id="12" name="Titel 5">
            <a:extLst>
              <a:ext uri="{FF2B5EF4-FFF2-40B4-BE49-F238E27FC236}">
                <a16:creationId xmlns:a16="http://schemas.microsoft.com/office/drawing/2014/main" id="{62DE8624-B123-6627-8995-047D2B33E96E}"/>
              </a:ext>
            </a:extLst>
          </p:cNvPr>
          <p:cNvSpPr>
            <a:spLocks noGrp="1"/>
          </p:cNvSpPr>
          <p:nvPr>
            <p:ph type="title"/>
          </p:nvPr>
        </p:nvSpPr>
        <p:spPr/>
        <p:txBody>
          <a:bodyPr vert="horz"/>
          <a:lstStyle/>
          <a:p>
            <a:r>
              <a:rPr lang="en-US"/>
              <a:t>AI-Powered Testing Revolution</a:t>
            </a:r>
            <a:br>
              <a:rPr lang="en-US"/>
            </a:br>
            <a:r>
              <a:rPr lang="en-US" b="1"/>
              <a:t>msg.TestCaseGen.ai</a:t>
            </a:r>
          </a:p>
        </p:txBody>
      </p:sp>
      <p:sp>
        <p:nvSpPr>
          <p:cNvPr id="14" name="Fußzeilenplatzhalter 1">
            <a:extLst>
              <a:ext uri="{FF2B5EF4-FFF2-40B4-BE49-F238E27FC236}">
                <a16:creationId xmlns:a16="http://schemas.microsoft.com/office/drawing/2014/main" id="{82ADB2F5-9D88-28CE-F47F-790A9DC6F34B}"/>
              </a:ext>
            </a:extLst>
          </p:cNvPr>
          <p:cNvSpPr>
            <a:spLocks noGrp="1"/>
          </p:cNvSpPr>
          <p:nvPr>
            <p:ph type="ftr" sz="quarter" idx="10"/>
          </p:nvPr>
        </p:nvSpPr>
        <p:spPr/>
        <p:txBody>
          <a:bodyPr/>
          <a:lstStyle/>
          <a:p>
            <a:r>
              <a:rPr lang="en-US" dirty="0"/>
              <a:t>© msg systems ag | 2026 | msg Company Presentation</a:t>
            </a:r>
          </a:p>
        </p:txBody>
      </p:sp>
      <p:sp>
        <p:nvSpPr>
          <p:cNvPr id="16" name="Foliennummernplatzhalter 2">
            <a:extLst>
              <a:ext uri="{FF2B5EF4-FFF2-40B4-BE49-F238E27FC236}">
                <a16:creationId xmlns:a16="http://schemas.microsoft.com/office/drawing/2014/main" id="{E3BFA256-C350-7B85-B41A-699C7370C2E9}"/>
              </a:ext>
            </a:extLst>
          </p:cNvPr>
          <p:cNvSpPr>
            <a:spLocks noGrp="1"/>
          </p:cNvSpPr>
          <p:nvPr>
            <p:ph type="sldNum" sz="quarter" idx="11"/>
          </p:nvPr>
        </p:nvSpPr>
        <p:spPr/>
        <p:txBody>
          <a:bodyPr/>
          <a:lstStyle/>
          <a:p>
            <a:fld id="{B27B0579-4238-4E44-9A9E-134B676F827C}" type="slidenum">
              <a:rPr lang="de-DE" smtClean="0"/>
              <a:pPr/>
              <a:t>45</a:t>
            </a:fld>
            <a:endParaRPr lang="de-DE"/>
          </a:p>
        </p:txBody>
      </p:sp>
      <p:cxnSp>
        <p:nvCxnSpPr>
          <p:cNvPr id="20" name="Gerader Verbinder 19">
            <a:extLst>
              <a:ext uri="{FF2B5EF4-FFF2-40B4-BE49-F238E27FC236}">
                <a16:creationId xmlns:a16="http://schemas.microsoft.com/office/drawing/2014/main" id="{3E03CB00-366F-A613-CD56-872857A64D60}"/>
              </a:ext>
            </a:extLst>
          </p:cNvPr>
          <p:cNvCxnSpPr>
            <a:cxnSpLocks/>
          </p:cNvCxnSpPr>
          <p:nvPr/>
        </p:nvCxnSpPr>
        <p:spPr>
          <a:xfrm>
            <a:off x="5019428" y="1773238"/>
            <a:ext cx="0" cy="431958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5E4EAE10-CA13-EC6C-5E76-8EF2CFE3D8DF}"/>
              </a:ext>
            </a:extLst>
          </p:cNvPr>
          <p:cNvSpPr txBox="1"/>
          <p:nvPr>
            <p:custDataLst>
              <p:tags r:id="rId3"/>
            </p:custDataLst>
          </p:nvPr>
        </p:nvSpPr>
        <p:spPr>
          <a:xfrm>
            <a:off x="623602" y="1782594"/>
            <a:ext cx="4295113" cy="2067169"/>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Your Challenge</a:t>
            </a:r>
          </a:p>
          <a:p>
            <a:pPr marL="215900" lvl="1" indent="-215900">
              <a:lnSpc>
                <a:spcPct val="95000"/>
              </a:lnSpc>
              <a:spcAft>
                <a:spcPts val="200"/>
              </a:spcAft>
            </a:pPr>
            <a:r>
              <a:rPr lang="en-US" sz="1200" b="1" dirty="0"/>
              <a:t>Complexity of test cases: </a:t>
            </a:r>
            <a:r>
              <a:rPr lang="en-US" sz="1200" dirty="0"/>
              <a:t>Manual creation and administration of test cases can be </a:t>
            </a:r>
            <a:br>
              <a:rPr lang="en-US" sz="1200" dirty="0"/>
            </a:br>
            <a:r>
              <a:rPr lang="en-US" sz="1200" dirty="0"/>
              <a:t>time-consuming and is error prone</a:t>
            </a:r>
          </a:p>
          <a:p>
            <a:pPr marL="215900" lvl="1" indent="-215900">
              <a:lnSpc>
                <a:spcPct val="95000"/>
              </a:lnSpc>
              <a:spcAft>
                <a:spcPts val="200"/>
              </a:spcAft>
            </a:pPr>
            <a:r>
              <a:rPr lang="en-US" sz="1200" b="1" dirty="0"/>
              <a:t>Scalability: </a:t>
            </a:r>
            <a:r>
              <a:rPr lang="en-US" sz="1200" dirty="0"/>
              <a:t>Difficulties when scaling test processes in large projects</a:t>
            </a:r>
          </a:p>
          <a:p>
            <a:pPr marL="215900" lvl="1" indent="-215900">
              <a:lnSpc>
                <a:spcPct val="95000"/>
              </a:lnSpc>
              <a:spcAft>
                <a:spcPts val="200"/>
              </a:spcAft>
            </a:pPr>
            <a:r>
              <a:rPr lang="en-US" sz="1200" b="1" dirty="0"/>
              <a:t>Quality assurance: </a:t>
            </a:r>
            <a:r>
              <a:rPr lang="en-US" sz="1200" dirty="0"/>
              <a:t>Ensuring consistency and completeness of tests</a:t>
            </a:r>
          </a:p>
          <a:p>
            <a:pPr marL="0" lvl="1" indent="0">
              <a:lnSpc>
                <a:spcPct val="95000"/>
              </a:lnSpc>
              <a:spcAft>
                <a:spcPts val="200"/>
              </a:spcAft>
              <a:buClr>
                <a:srgbClr val="A01441"/>
              </a:buClr>
              <a:buNone/>
            </a:pPr>
            <a:endParaRPr lang="de-DE" sz="1200" dirty="0"/>
          </a:p>
          <a:p>
            <a:pPr>
              <a:lnSpc>
                <a:spcPct val="95000"/>
              </a:lnSpc>
              <a:spcAft>
                <a:spcPts val="200"/>
              </a:spcAft>
            </a:pPr>
            <a:endParaRPr lang="de-DE" sz="1400" dirty="0"/>
          </a:p>
        </p:txBody>
      </p:sp>
      <p:sp>
        <p:nvSpPr>
          <p:cNvPr id="26" name="Textfeld 25">
            <a:extLst>
              <a:ext uri="{FF2B5EF4-FFF2-40B4-BE49-F238E27FC236}">
                <a16:creationId xmlns:a16="http://schemas.microsoft.com/office/drawing/2014/main" id="{4D229239-6E3D-F25E-DBA5-BAA1043385F1}"/>
              </a:ext>
            </a:extLst>
          </p:cNvPr>
          <p:cNvSpPr txBox="1"/>
          <p:nvPr>
            <p:custDataLst>
              <p:tags r:id="rId4"/>
            </p:custDataLst>
          </p:nvPr>
        </p:nvSpPr>
        <p:spPr>
          <a:xfrm>
            <a:off x="5227890" y="1768083"/>
            <a:ext cx="3885971" cy="207327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Your Benefits</a:t>
            </a:r>
          </a:p>
          <a:p>
            <a:pPr marL="215900" lvl="1" indent="-215900">
              <a:lnSpc>
                <a:spcPct val="95000"/>
              </a:lnSpc>
              <a:spcAft>
                <a:spcPts val="200"/>
              </a:spcAft>
            </a:pPr>
            <a:r>
              <a:rPr lang="en-US" sz="1200" b="1"/>
              <a:t>Increased Efficiency: </a:t>
            </a:r>
            <a:r>
              <a:rPr lang="en-US" sz="1200"/>
              <a:t>Reducing the time </a:t>
            </a:r>
            <a:br>
              <a:rPr lang="en-US" sz="1200"/>
            </a:br>
            <a:r>
              <a:rPr lang="en-US" sz="1200"/>
              <a:t>involved in the creation </a:t>
            </a:r>
            <a:r>
              <a:rPr lang="en-US" sz="1200" dirty="0"/>
              <a:t>and administration </a:t>
            </a:r>
            <a:r>
              <a:rPr lang="en-US" sz="1200"/>
              <a:t>of </a:t>
            </a:r>
            <a:br>
              <a:rPr lang="en-US" sz="1200"/>
            </a:br>
            <a:r>
              <a:rPr lang="en-US" sz="1200"/>
              <a:t>test </a:t>
            </a:r>
            <a:r>
              <a:rPr lang="en-US" sz="1200" dirty="0"/>
              <a:t>cases</a:t>
            </a:r>
          </a:p>
          <a:p>
            <a:pPr marL="215900" lvl="1" indent="-215900">
              <a:lnSpc>
                <a:spcPct val="95000"/>
              </a:lnSpc>
              <a:spcAft>
                <a:spcPts val="200"/>
              </a:spcAft>
            </a:pPr>
            <a:r>
              <a:rPr lang="en-US" sz="1200" b="1" dirty="0"/>
              <a:t>Cost savings: </a:t>
            </a:r>
            <a:r>
              <a:rPr lang="en-US" sz="1200" dirty="0"/>
              <a:t>Reducing costs by automating and optimizing test processes</a:t>
            </a:r>
          </a:p>
          <a:p>
            <a:pPr marL="215900" lvl="1" indent="-215900">
              <a:lnSpc>
                <a:spcPct val="95000"/>
              </a:lnSpc>
              <a:spcAft>
                <a:spcPts val="200"/>
              </a:spcAft>
            </a:pPr>
            <a:r>
              <a:rPr lang="en-US" sz="1200" b="1" dirty="0"/>
              <a:t>Improved quality:</a:t>
            </a:r>
            <a:r>
              <a:rPr lang="en-US" sz="1200" dirty="0"/>
              <a:t> Increasing test coverage and ensuring consistency and completeness of tests</a:t>
            </a:r>
          </a:p>
        </p:txBody>
      </p:sp>
      <p:sp>
        <p:nvSpPr>
          <p:cNvPr id="28" name="Textfeld 27">
            <a:extLst>
              <a:ext uri="{FF2B5EF4-FFF2-40B4-BE49-F238E27FC236}">
                <a16:creationId xmlns:a16="http://schemas.microsoft.com/office/drawing/2014/main" id="{BE848B66-A370-EF13-E253-547D34D6448C}"/>
              </a:ext>
            </a:extLst>
          </p:cNvPr>
          <p:cNvSpPr txBox="1"/>
          <p:nvPr>
            <p:custDataLst>
              <p:tags r:id="rId5"/>
            </p:custDataLst>
          </p:nvPr>
        </p:nvSpPr>
        <p:spPr>
          <a:xfrm>
            <a:off x="653195" y="3991468"/>
            <a:ext cx="4490500" cy="2106245"/>
          </a:xfrm>
          <a:prstGeom prst="rect">
            <a:avLst/>
          </a:prstGeom>
        </p:spPr>
        <p:txBody>
          <a:bodyPr vert="horz" lIns="0" tIns="0" rIns="0" bIns="0" rtlCol="0" anchor="t">
            <a:noAutofit/>
          </a:bodyPr>
          <a:lstStyle>
            <a:lvl1pPr indent="0">
              <a:lnSpc>
                <a:spcPct val="100000"/>
              </a:lnSpc>
              <a:spcBef>
                <a:spcPts val="0"/>
              </a:spcBef>
              <a:spcAft>
                <a:spcPts val="600"/>
              </a:spcAft>
              <a:buFont typeface="Wingdings" panose="05000000000000000000" pitchFamily="2" charset="2"/>
              <a:buNone/>
              <a:defRPr sz="1600"/>
            </a:lvl1pPr>
            <a:lvl2pPr marL="216000" indent="-216000">
              <a:lnSpc>
                <a:spcPct val="100000"/>
              </a:lnSpc>
              <a:spcBef>
                <a:spcPts val="0"/>
              </a:spcBef>
              <a:spcAft>
                <a:spcPts val="600"/>
              </a:spcAft>
              <a:buClr>
                <a:schemeClr val="accent1"/>
              </a:buClr>
              <a:buFont typeface="Arial" panose="020B0604020202020204" pitchFamily="34" charset="0"/>
              <a:buChar char="•"/>
              <a:defRPr sz="16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sz="1400" b="1" dirty="0"/>
              <a:t>Our Offering</a:t>
            </a:r>
          </a:p>
          <a:p>
            <a:pPr marL="215900" lvl="1" indent="-215900">
              <a:lnSpc>
                <a:spcPct val="95000"/>
              </a:lnSpc>
              <a:spcAft>
                <a:spcPts val="200"/>
              </a:spcAft>
            </a:pPr>
            <a:r>
              <a:rPr lang="en-US" sz="1200" b="1" dirty="0"/>
              <a:t>Automated test case generation: </a:t>
            </a:r>
            <a:r>
              <a:rPr lang="en-US" sz="1200" dirty="0"/>
              <a:t>Using AI for </a:t>
            </a:r>
            <a:br>
              <a:rPr lang="en-US" sz="1200" dirty="0"/>
            </a:br>
            <a:r>
              <a:rPr lang="en-US" sz="1200" dirty="0"/>
              <a:t>automatic creation of test cases based on </a:t>
            </a:r>
            <a:br>
              <a:rPr lang="en-US" sz="1200" dirty="0"/>
            </a:br>
            <a:r>
              <a:rPr lang="en-US" sz="1200" dirty="0"/>
              <a:t>requirements</a:t>
            </a:r>
          </a:p>
          <a:p>
            <a:pPr marL="215900" lvl="1" indent="-215900">
              <a:lnSpc>
                <a:spcPct val="95000"/>
              </a:lnSpc>
              <a:spcAft>
                <a:spcPts val="200"/>
              </a:spcAft>
            </a:pPr>
            <a:r>
              <a:rPr lang="en-US" sz="1200" b="1" dirty="0"/>
              <a:t>Integration: </a:t>
            </a:r>
            <a:r>
              <a:rPr lang="en-US" sz="1200" dirty="0"/>
              <a:t>Seamless integration with existing CI/CP pipeline and test management tools</a:t>
            </a:r>
          </a:p>
          <a:p>
            <a:pPr marL="215900" lvl="1" indent="-215900">
              <a:lnSpc>
                <a:spcPct val="95000"/>
              </a:lnSpc>
              <a:spcAft>
                <a:spcPts val="200"/>
              </a:spcAft>
            </a:pPr>
            <a:r>
              <a:rPr lang="en-US" sz="1200" b="1" dirty="0"/>
              <a:t>Reporting: </a:t>
            </a:r>
            <a:r>
              <a:rPr lang="en-US" sz="1200" dirty="0"/>
              <a:t>Detailed reports and analyses for test coverage and test performance</a:t>
            </a:r>
          </a:p>
          <a:p>
            <a:pPr>
              <a:lnSpc>
                <a:spcPct val="95000"/>
              </a:lnSpc>
              <a:spcAft>
                <a:spcPts val="200"/>
              </a:spcAft>
            </a:pPr>
            <a:endParaRPr lang="de-DE" sz="1400" dirty="0"/>
          </a:p>
        </p:txBody>
      </p:sp>
      <p:sp>
        <p:nvSpPr>
          <p:cNvPr id="30" name="Textfeld 29">
            <a:extLst>
              <a:ext uri="{FF2B5EF4-FFF2-40B4-BE49-F238E27FC236}">
                <a16:creationId xmlns:a16="http://schemas.microsoft.com/office/drawing/2014/main" id="{17F48697-DD1E-34E7-A02E-81523E636669}"/>
              </a:ext>
            </a:extLst>
          </p:cNvPr>
          <p:cNvSpPr txBox="1"/>
          <p:nvPr>
            <p:custDataLst>
              <p:tags r:id="rId6"/>
            </p:custDataLst>
          </p:nvPr>
        </p:nvSpPr>
        <p:spPr>
          <a:xfrm>
            <a:off x="5227890" y="3991468"/>
            <a:ext cx="3778873" cy="914400"/>
          </a:xfrm>
          <a:prstGeom prst="rect">
            <a:avLst/>
          </a:prstGeom>
        </p:spPr>
        <p:txBody>
          <a:bodyPr vert="horz" lIns="0" tIns="0" rIns="0" bIns="0" rtlCol="0" anchor="t">
            <a:noAutofit/>
          </a:bodyPr>
          <a:lstStyle>
            <a:defPPr>
              <a:defRPr lang="de-DE"/>
            </a:defPPr>
            <a:lvl1pPr indent="0">
              <a:lnSpc>
                <a:spcPct val="100000"/>
              </a:lnSpc>
              <a:spcBef>
                <a:spcPts val="0"/>
              </a:spcBef>
              <a:spcAft>
                <a:spcPts val="600"/>
              </a:spcAft>
              <a:buFont typeface="Wingdings" panose="05000000000000000000" pitchFamily="2" charset="2"/>
              <a:buNone/>
              <a:defRPr sz="1400" b="1"/>
            </a:lvl1pPr>
            <a:lvl2pPr marL="216000" lvl="1" indent="-216000">
              <a:lnSpc>
                <a:spcPct val="100000"/>
              </a:lnSpc>
              <a:spcBef>
                <a:spcPts val="0"/>
              </a:spcBef>
              <a:spcAft>
                <a:spcPts val="600"/>
              </a:spcAft>
              <a:buClr>
                <a:schemeClr val="accent1"/>
              </a:buClr>
              <a:buFont typeface="Arial" panose="020B0604020202020204" pitchFamily="34" charset="0"/>
              <a:buChar char="•"/>
              <a:defRPr sz="1400"/>
            </a:lvl2pPr>
            <a:lvl3pPr marL="432000" indent="-216000">
              <a:lnSpc>
                <a:spcPct val="100000"/>
              </a:lnSpc>
              <a:spcBef>
                <a:spcPts val="0"/>
              </a:spcBef>
              <a:spcAft>
                <a:spcPts val="600"/>
              </a:spcAft>
              <a:buClr>
                <a:schemeClr val="accent1"/>
              </a:buClr>
              <a:buFont typeface="Arial" panose="020B0604020202020204" pitchFamily="34" charset="0"/>
              <a:buChar char="•"/>
              <a:defRPr sz="1600"/>
            </a:lvl3pPr>
            <a:lvl4pPr marL="648000" indent="-216000">
              <a:lnSpc>
                <a:spcPct val="100000"/>
              </a:lnSpc>
              <a:spcBef>
                <a:spcPts val="0"/>
              </a:spcBef>
              <a:spcAft>
                <a:spcPts val="600"/>
              </a:spcAft>
              <a:buClr>
                <a:schemeClr val="accent1"/>
              </a:buClr>
              <a:buFont typeface="Arial" panose="020B0604020202020204" pitchFamily="34" charset="0"/>
              <a:buChar char="•"/>
              <a:defRPr sz="1600"/>
            </a:lvl4pPr>
            <a:lvl5pPr marL="864000" indent="-216000">
              <a:lnSpc>
                <a:spcPct val="100000"/>
              </a:lnSpc>
              <a:spcBef>
                <a:spcPts val="0"/>
              </a:spcBef>
              <a:spcAft>
                <a:spcPts val="600"/>
              </a:spcAft>
              <a:buClr>
                <a:schemeClr val="accent1"/>
              </a:buClr>
              <a:buFont typeface="Arial" panose="020B0604020202020204" pitchFamily="34" charset="0"/>
              <a:buChar char="•"/>
              <a:defRPr sz="1600"/>
            </a:lvl5pPr>
            <a:lvl6pPr marL="1080000" indent="-216000">
              <a:lnSpc>
                <a:spcPct val="100000"/>
              </a:lnSpc>
              <a:spcBef>
                <a:spcPts val="0"/>
              </a:spcBef>
              <a:spcAft>
                <a:spcPts val="600"/>
              </a:spcAft>
              <a:buClr>
                <a:schemeClr val="accent1"/>
              </a:buClr>
              <a:buFont typeface="Arial" panose="020B0604020202020204" pitchFamily="34" charset="0"/>
              <a:buChar char="•"/>
              <a:defRPr sz="1600"/>
            </a:lvl6pPr>
            <a:lvl7pPr marL="1296000" indent="-216000">
              <a:lnSpc>
                <a:spcPct val="100000"/>
              </a:lnSpc>
              <a:spcBef>
                <a:spcPts val="0"/>
              </a:spcBef>
              <a:spcAft>
                <a:spcPts val="600"/>
              </a:spcAft>
              <a:buClr>
                <a:schemeClr val="accent1"/>
              </a:buClr>
              <a:buFont typeface="Arial" panose="020B0604020202020204" pitchFamily="34" charset="0"/>
              <a:buChar char="•"/>
              <a:defRPr sz="1600"/>
            </a:lvl7pPr>
            <a:lvl8pPr marL="1512000" indent="-216000">
              <a:lnSpc>
                <a:spcPct val="100000"/>
              </a:lnSpc>
              <a:spcBef>
                <a:spcPts val="0"/>
              </a:spcBef>
              <a:spcAft>
                <a:spcPts val="600"/>
              </a:spcAft>
              <a:buClr>
                <a:schemeClr val="accent1"/>
              </a:buClr>
              <a:buFont typeface="Arial" panose="020B0604020202020204" pitchFamily="34" charset="0"/>
              <a:buChar char="•"/>
              <a:defRPr sz="1600"/>
            </a:lvl8pPr>
            <a:lvl9pPr marL="1728000" indent="-216000">
              <a:lnSpc>
                <a:spcPct val="100000"/>
              </a:lnSpc>
              <a:spcBef>
                <a:spcPts val="0"/>
              </a:spcBef>
              <a:spcAft>
                <a:spcPts val="600"/>
              </a:spcAft>
              <a:buClr>
                <a:schemeClr val="accent1"/>
              </a:buClr>
              <a:buFont typeface="Arial" panose="020B0604020202020204" pitchFamily="34" charset="0"/>
              <a:buChar char="•"/>
              <a:defRPr sz="1600"/>
            </a:lvl9pPr>
          </a:lstStyle>
          <a:p>
            <a:pPr>
              <a:lnSpc>
                <a:spcPct val="95000"/>
              </a:lnSpc>
              <a:spcAft>
                <a:spcPts val="200"/>
              </a:spcAft>
            </a:pPr>
            <a:r>
              <a:rPr lang="en-US"/>
              <a:t>Our Partners and References</a:t>
            </a:r>
          </a:p>
          <a:p>
            <a:pPr marL="215900" lvl="1" indent="-215900">
              <a:lnSpc>
                <a:spcPct val="95000"/>
              </a:lnSpc>
              <a:spcAft>
                <a:spcPts val="200"/>
              </a:spcAft>
              <a:buClr>
                <a:srgbClr val="A01441"/>
              </a:buClr>
            </a:pPr>
            <a:r>
              <a:rPr lang="en-US" sz="1200"/>
              <a:t>TollCollect</a:t>
            </a:r>
          </a:p>
          <a:p>
            <a:pPr marL="215900" lvl="1" indent="-215900">
              <a:lnSpc>
                <a:spcPct val="95000"/>
              </a:lnSpc>
              <a:spcAft>
                <a:spcPts val="200"/>
              </a:spcAft>
              <a:buClr>
                <a:srgbClr val="A01441"/>
              </a:buClr>
            </a:pPr>
            <a:r>
              <a:rPr lang="en-US" sz="1200"/>
              <a:t>AUDI</a:t>
            </a:r>
          </a:p>
        </p:txBody>
      </p:sp>
      <p:grpSp>
        <p:nvGrpSpPr>
          <p:cNvPr id="4" name="Gruppieren 3">
            <a:extLst>
              <a:ext uri="{FF2B5EF4-FFF2-40B4-BE49-F238E27FC236}">
                <a16:creationId xmlns:a16="http://schemas.microsoft.com/office/drawing/2014/main" id="{C9E586E8-FAFD-6AC8-2041-2D1415B1DC85}"/>
              </a:ext>
            </a:extLst>
          </p:cNvPr>
          <p:cNvGrpSpPr/>
          <p:nvPr/>
        </p:nvGrpSpPr>
        <p:grpSpPr>
          <a:xfrm>
            <a:off x="4138804" y="1771450"/>
            <a:ext cx="703694" cy="703694"/>
            <a:chOff x="3460071" y="1779904"/>
            <a:chExt cx="869145" cy="869145"/>
          </a:xfrm>
        </p:grpSpPr>
        <p:sp>
          <p:nvSpPr>
            <p:cNvPr id="5" name="Kreis: nicht ausgefüllt 4">
              <a:extLst>
                <a:ext uri="{FF2B5EF4-FFF2-40B4-BE49-F238E27FC236}">
                  <a16:creationId xmlns:a16="http://schemas.microsoft.com/office/drawing/2014/main" id="{80A82CCD-9220-D631-3C4A-71891A9BD2AE}"/>
                </a:ext>
              </a:extLst>
            </p:cNvPr>
            <p:cNvSpPr/>
            <p:nvPr>
              <p:custDataLst>
                <p:tags r:id="rId10"/>
              </p:custDataLst>
            </p:nvPr>
          </p:nvSpPr>
          <p:spPr>
            <a:xfrm>
              <a:off x="3460071"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6" name="Grafik 5">
              <a:extLst>
                <a:ext uri="{FF2B5EF4-FFF2-40B4-BE49-F238E27FC236}">
                  <a16:creationId xmlns:a16="http://schemas.microsoft.com/office/drawing/2014/main" id="{3F26F57B-BED3-1B58-C154-73E3FB278C52}"/>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496632" y="1796942"/>
              <a:ext cx="809625" cy="809625"/>
            </a:xfrm>
            <a:prstGeom prst="rect">
              <a:avLst/>
            </a:prstGeom>
          </p:spPr>
        </p:pic>
      </p:grpSp>
      <p:grpSp>
        <p:nvGrpSpPr>
          <p:cNvPr id="7" name="Gruppieren 6">
            <a:extLst>
              <a:ext uri="{FF2B5EF4-FFF2-40B4-BE49-F238E27FC236}">
                <a16:creationId xmlns:a16="http://schemas.microsoft.com/office/drawing/2014/main" id="{54A71BF1-8F3C-8BB6-00FA-E7BEEC7382BB}"/>
              </a:ext>
            </a:extLst>
          </p:cNvPr>
          <p:cNvGrpSpPr/>
          <p:nvPr/>
        </p:nvGrpSpPr>
        <p:grpSpPr>
          <a:xfrm>
            <a:off x="8761542" y="3981459"/>
            <a:ext cx="703694" cy="703694"/>
            <a:chOff x="8575325" y="4111833"/>
            <a:chExt cx="869145" cy="869145"/>
          </a:xfrm>
        </p:grpSpPr>
        <p:sp>
          <p:nvSpPr>
            <p:cNvPr id="9" name="Kreis: nicht ausgefüllt 8">
              <a:extLst>
                <a:ext uri="{FF2B5EF4-FFF2-40B4-BE49-F238E27FC236}">
                  <a16:creationId xmlns:a16="http://schemas.microsoft.com/office/drawing/2014/main" id="{BABD8BDE-F899-CE76-2326-2F23D89F1298}"/>
                </a:ext>
              </a:extLst>
            </p:cNvPr>
            <p:cNvSpPr/>
            <p:nvPr>
              <p:custDataLst>
                <p:tags r:id="rId9"/>
              </p:custDataLst>
            </p:nvPr>
          </p:nvSpPr>
          <p:spPr>
            <a:xfrm>
              <a:off x="8575325"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1" name="Grafik 10">
              <a:extLst>
                <a:ext uri="{FF2B5EF4-FFF2-40B4-BE49-F238E27FC236}">
                  <a16:creationId xmlns:a16="http://schemas.microsoft.com/office/drawing/2014/main" id="{7F93FF18-FD66-93AD-0632-FE3D1D26353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8608010" y="4171353"/>
              <a:ext cx="809625" cy="809625"/>
            </a:xfrm>
            <a:prstGeom prst="rect">
              <a:avLst/>
            </a:prstGeom>
          </p:spPr>
        </p:pic>
      </p:grpSp>
      <p:grpSp>
        <p:nvGrpSpPr>
          <p:cNvPr id="13" name="Gruppieren 12">
            <a:extLst>
              <a:ext uri="{FF2B5EF4-FFF2-40B4-BE49-F238E27FC236}">
                <a16:creationId xmlns:a16="http://schemas.microsoft.com/office/drawing/2014/main" id="{656794AC-726E-F8EA-DA12-A528605A6AE7}"/>
              </a:ext>
            </a:extLst>
          </p:cNvPr>
          <p:cNvGrpSpPr/>
          <p:nvPr/>
        </p:nvGrpSpPr>
        <p:grpSpPr>
          <a:xfrm>
            <a:off x="4138804" y="3981459"/>
            <a:ext cx="703694" cy="703694"/>
            <a:chOff x="3460071" y="4111833"/>
            <a:chExt cx="869145" cy="869145"/>
          </a:xfrm>
        </p:grpSpPr>
        <p:sp>
          <p:nvSpPr>
            <p:cNvPr id="15" name="Kreis: nicht ausgefüllt 14">
              <a:extLst>
                <a:ext uri="{FF2B5EF4-FFF2-40B4-BE49-F238E27FC236}">
                  <a16:creationId xmlns:a16="http://schemas.microsoft.com/office/drawing/2014/main" id="{9C9B10C9-4180-7654-DC42-DBF6F8BC640A}"/>
                </a:ext>
              </a:extLst>
            </p:cNvPr>
            <p:cNvSpPr/>
            <p:nvPr>
              <p:custDataLst>
                <p:tags r:id="rId8"/>
              </p:custDataLst>
            </p:nvPr>
          </p:nvSpPr>
          <p:spPr>
            <a:xfrm>
              <a:off x="3460071" y="4111833"/>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17" name="Grafik 16">
              <a:extLst>
                <a:ext uri="{FF2B5EF4-FFF2-40B4-BE49-F238E27FC236}">
                  <a16:creationId xmlns:a16="http://schemas.microsoft.com/office/drawing/2014/main" id="{B4613DAE-6CC2-3B04-2B54-DDC296DF5F58}"/>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489830" y="4141593"/>
              <a:ext cx="809625" cy="809625"/>
            </a:xfrm>
            <a:prstGeom prst="rect">
              <a:avLst/>
            </a:prstGeom>
          </p:spPr>
        </p:pic>
      </p:grpSp>
      <p:grpSp>
        <p:nvGrpSpPr>
          <p:cNvPr id="18" name="Gruppieren 17">
            <a:extLst>
              <a:ext uri="{FF2B5EF4-FFF2-40B4-BE49-F238E27FC236}">
                <a16:creationId xmlns:a16="http://schemas.microsoft.com/office/drawing/2014/main" id="{66599728-6E29-28E6-CD80-41232440D9A3}"/>
              </a:ext>
            </a:extLst>
          </p:cNvPr>
          <p:cNvGrpSpPr/>
          <p:nvPr/>
        </p:nvGrpSpPr>
        <p:grpSpPr>
          <a:xfrm>
            <a:off x="8761541" y="1771450"/>
            <a:ext cx="703694" cy="703694"/>
            <a:chOff x="7459565" y="1779904"/>
            <a:chExt cx="869145" cy="869145"/>
          </a:xfrm>
        </p:grpSpPr>
        <p:sp>
          <p:nvSpPr>
            <p:cNvPr id="19" name="Kreis: nicht ausgefüllt 18">
              <a:extLst>
                <a:ext uri="{FF2B5EF4-FFF2-40B4-BE49-F238E27FC236}">
                  <a16:creationId xmlns:a16="http://schemas.microsoft.com/office/drawing/2014/main" id="{024ABC42-321A-9637-F375-EE2DA4A9C151}"/>
                </a:ext>
              </a:extLst>
            </p:cNvPr>
            <p:cNvSpPr/>
            <p:nvPr>
              <p:custDataLst>
                <p:tags r:id="rId7"/>
              </p:custDataLst>
            </p:nvPr>
          </p:nvSpPr>
          <p:spPr>
            <a:xfrm>
              <a:off x="7459565" y="1779904"/>
              <a:ext cx="869145" cy="869145"/>
            </a:xfrm>
            <a:prstGeom prst="donut">
              <a:avLst>
                <a:gd name="adj" fmla="val 5998"/>
              </a:avLst>
            </a:prstGeom>
            <a:blipFill>
              <a:blip r:embed="rId1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95000"/>
                </a:lnSpc>
              </a:pPr>
              <a:endParaRPr lang="de-DE" sz="2800"/>
            </a:p>
          </p:txBody>
        </p:sp>
        <p:pic>
          <p:nvPicPr>
            <p:cNvPr id="21" name="Grafik 20">
              <a:extLst>
                <a:ext uri="{FF2B5EF4-FFF2-40B4-BE49-F238E27FC236}">
                  <a16:creationId xmlns:a16="http://schemas.microsoft.com/office/drawing/2014/main" id="{690A74EF-972B-6764-2B70-C5C965486ADB}"/>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7493685" y="1797686"/>
              <a:ext cx="809625" cy="809625"/>
            </a:xfrm>
            <a:prstGeom prst="rect">
              <a:avLst/>
            </a:prstGeom>
          </p:spPr>
        </p:pic>
      </p:grpSp>
      <p:sp>
        <p:nvSpPr>
          <p:cNvPr id="2" name="TextBox 1">
            <a:extLst>
              <a:ext uri="{FF2B5EF4-FFF2-40B4-BE49-F238E27FC236}">
                <a16:creationId xmlns:a16="http://schemas.microsoft.com/office/drawing/2014/main" id="{ACC130B0-02B1-CC15-8429-D485633952AA}"/>
              </a:ext>
            </a:extLst>
          </p:cNvPr>
          <p:cNvSpPr txBox="1"/>
          <p:nvPr/>
        </p:nvSpPr>
        <p:spPr>
          <a:xfrm>
            <a:off x="9908084" y="2333163"/>
            <a:ext cx="1948103" cy="2308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de-DE"/>
            </a:defPPr>
            <a:lvl1pPr algn="ctr">
              <a:defRPr sz="1500" b="1"/>
            </a:lvl1pPr>
          </a:lstStyle>
          <a:p>
            <a:r>
              <a:rPr lang="en-US" dirty="0"/>
              <a:t>msg.TestCaseGen.ai</a:t>
            </a:r>
          </a:p>
        </p:txBody>
      </p:sp>
    </p:spTree>
    <p:extLst>
      <p:ext uri="{BB962C8B-B14F-4D97-AF65-F5344CB8AC3E}">
        <p14:creationId xmlns:p14="http://schemas.microsoft.com/office/powerpoint/2010/main" val="11415136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Ein Bild, das Wasser, Landschaft, Natur, Baum enthält.&#10;&#10;Automatisch generierte Beschreibung">
            <a:extLst>
              <a:ext uri="{FF2B5EF4-FFF2-40B4-BE49-F238E27FC236}">
                <a16:creationId xmlns:a16="http://schemas.microsoft.com/office/drawing/2014/main" id="{A760BF38-2960-8B02-E7BD-C7755937DEE2}"/>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5871" y="-16575"/>
            <a:ext cx="12215290" cy="6874575"/>
          </a:xfrm>
          <a:prstGeom prst="rect">
            <a:avLst/>
          </a:prstGeom>
        </p:spPr>
      </p:pic>
      <p:sp>
        <p:nvSpPr>
          <p:cNvPr id="80" name="Rechteck 79">
            <a:extLst>
              <a:ext uri="{FF2B5EF4-FFF2-40B4-BE49-F238E27FC236}">
                <a16:creationId xmlns:a16="http://schemas.microsoft.com/office/drawing/2014/main" id="{33AA7F34-1680-C33D-26D6-10B325F221CE}"/>
              </a:ext>
            </a:extLst>
          </p:cNvPr>
          <p:cNvSpPr/>
          <p:nvPr/>
        </p:nvSpPr>
        <p:spPr>
          <a:xfrm>
            <a:off x="-5871" y="0"/>
            <a:ext cx="12192000" cy="6877050"/>
          </a:xfrm>
          <a:prstGeom prst="rect">
            <a:avLst/>
          </a:prstGeom>
          <a:gradFill flip="none" rotWithShape="1">
            <a:gsLst>
              <a:gs pos="0">
                <a:schemeClr val="tx1">
                  <a:alpha val="0"/>
                </a:schemeClr>
              </a:gs>
              <a:gs pos="68000">
                <a:schemeClr val="tx1">
                  <a:alpha val="3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21124"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Fußzeilenplatzhalter 1">
            <a:extLst>
              <a:ext uri="{FF2B5EF4-FFF2-40B4-BE49-F238E27FC236}">
                <a16:creationId xmlns:a16="http://schemas.microsoft.com/office/drawing/2014/main" id="{C192F97B-73EC-0C75-75BC-B90590C479BC}"/>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46</a:t>
            </a:fld>
            <a:endParaRPr lang="de-DE">
              <a:solidFill>
                <a:schemeClr val="bg1"/>
              </a:solidFill>
            </a:endParaRPr>
          </a:p>
        </p:txBody>
      </p:sp>
      <p:sp>
        <p:nvSpPr>
          <p:cNvPr id="5" name="Diagonal liegende Ecken des Rechtecks abrunden 4">
            <a:extLst>
              <a:ext uri="{FF2B5EF4-FFF2-40B4-BE49-F238E27FC236}">
                <a16:creationId xmlns:a16="http://schemas.microsoft.com/office/drawing/2014/main" id="{9634DA1D-D56B-E51E-20A2-BFE902703A5D}"/>
              </a:ext>
            </a:extLst>
          </p:cNvPr>
          <p:cNvSpPr/>
          <p:nvPr/>
        </p:nvSpPr>
        <p:spPr>
          <a:xfrm flipV="1">
            <a:off x="623888" y="4136083"/>
            <a:ext cx="10393243" cy="2047329"/>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0" name="Titel 1">
            <a:extLst>
              <a:ext uri="{FF2B5EF4-FFF2-40B4-BE49-F238E27FC236}">
                <a16:creationId xmlns:a16="http://schemas.microsoft.com/office/drawing/2014/main" id="{1CD63F4E-FFCD-EA36-161A-DA16AFA675A4}"/>
              </a:ext>
            </a:extLst>
          </p:cNvPr>
          <p:cNvSpPr txBox="1">
            <a:spLocks/>
          </p:cNvSpPr>
          <p:nvPr/>
        </p:nvSpPr>
        <p:spPr>
          <a:xfrm>
            <a:off x="1239312" y="4871090"/>
            <a:ext cx="9777819"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en-US" sz="4300">
                <a:solidFill>
                  <a:schemeClr val="tx1"/>
                </a:solidFill>
                <a:latin typeface="+mn-lt"/>
              </a:rPr>
              <a:t>Digitalization as the </a:t>
            </a:r>
            <a:br>
              <a:rPr lang="en-US" sz="4300">
                <a:solidFill>
                  <a:schemeClr val="tx1"/>
                </a:solidFill>
                <a:latin typeface="+mn-lt"/>
              </a:rPr>
            </a:br>
            <a:r>
              <a:rPr lang="en-US" sz="4300">
                <a:solidFill>
                  <a:schemeClr val="tx1"/>
                </a:solidFill>
                <a:latin typeface="+mn-lt"/>
              </a:rPr>
              <a:t>central key to sustainability and ESG</a:t>
            </a:r>
          </a:p>
        </p:txBody>
      </p:sp>
      <p:sp>
        <p:nvSpPr>
          <p:cNvPr id="12" name="Untertitel 2">
            <a:extLst>
              <a:ext uri="{FF2B5EF4-FFF2-40B4-BE49-F238E27FC236}">
                <a16:creationId xmlns:a16="http://schemas.microsoft.com/office/drawing/2014/main" id="{19672157-5311-EAAA-C637-9E9262E6B5E7}"/>
              </a:ext>
            </a:extLst>
          </p:cNvPr>
          <p:cNvSpPr txBox="1">
            <a:spLocks/>
          </p:cNvSpPr>
          <p:nvPr/>
        </p:nvSpPr>
        <p:spPr>
          <a:xfrm>
            <a:off x="1266181" y="4472110"/>
            <a:ext cx="9750950"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u="none" strike="noStrike" kern="1200" cap="none" spc="0" normalizeH="0" baseline="0" noProof="0">
                <a:ln>
                  <a:noFill/>
                </a:ln>
                <a:effectLst/>
                <a:uLnTx/>
                <a:uFillTx/>
                <a:cs typeface="Calibri Light"/>
              </a:rPr>
              <a:t>Added value for our customers</a:t>
            </a:r>
          </a:p>
        </p:txBody>
      </p:sp>
      <p:sp>
        <p:nvSpPr>
          <p:cNvPr id="13" name="Ellipse 13">
            <a:extLst>
              <a:ext uri="{FF2B5EF4-FFF2-40B4-BE49-F238E27FC236}">
                <a16:creationId xmlns:a16="http://schemas.microsoft.com/office/drawing/2014/main" id="{E2FBD26C-5D0C-DD94-8E69-1D83982379FA}"/>
              </a:ext>
            </a:extLst>
          </p:cNvPr>
          <p:cNvSpPr/>
          <p:nvPr/>
        </p:nvSpPr>
        <p:spPr>
          <a:xfrm>
            <a:off x="790715" y="4450536"/>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5</a:t>
            </a:r>
          </a:p>
        </p:txBody>
      </p:sp>
      <p:pic>
        <p:nvPicPr>
          <p:cNvPr id="6" name="Grafik 5">
            <a:extLst>
              <a:ext uri="{FF2B5EF4-FFF2-40B4-BE49-F238E27FC236}">
                <a16:creationId xmlns:a16="http://schemas.microsoft.com/office/drawing/2014/main" id="{E5BC3078-9380-7F7F-2EB5-F1D463E0B5E3}"/>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21859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534B2BB7-BD7F-A1B5-3A29-B33C25C9BAE9}"/>
              </a:ext>
            </a:extLst>
          </p:cNvPr>
          <p:cNvSpPr>
            <a:spLocks noGrp="1"/>
          </p:cNvSpPr>
          <p:nvPr>
            <p:ph type="body" sz="quarter" idx="12"/>
          </p:nvPr>
        </p:nvSpPr>
        <p:spPr>
          <a:xfrm>
            <a:off x="623888" y="296863"/>
            <a:ext cx="9488833" cy="169277"/>
          </a:xfrm>
        </p:spPr>
        <p:txBody>
          <a:bodyPr/>
          <a:lstStyle/>
          <a:p>
            <a:r>
              <a:rPr lang="en-US"/>
              <a:t>Digitalization as the central key to sustainability and ESG</a:t>
            </a:r>
          </a:p>
        </p:txBody>
      </p:sp>
      <p:sp>
        <p:nvSpPr>
          <p:cNvPr id="4" name="Titel 3">
            <a:extLst>
              <a:ext uri="{FF2B5EF4-FFF2-40B4-BE49-F238E27FC236}">
                <a16:creationId xmlns:a16="http://schemas.microsoft.com/office/drawing/2014/main" id="{C4438A09-170C-DB9D-FC1E-94F48D3AA6CC}"/>
              </a:ext>
            </a:extLst>
          </p:cNvPr>
          <p:cNvSpPr>
            <a:spLocks noGrp="1"/>
          </p:cNvSpPr>
          <p:nvPr>
            <p:ph type="title"/>
          </p:nvPr>
        </p:nvSpPr>
        <p:spPr>
          <a:xfrm>
            <a:off x="623888" y="620713"/>
            <a:ext cx="9488833" cy="738664"/>
          </a:xfrm>
        </p:spPr>
        <p:txBody>
          <a:bodyPr/>
          <a:lstStyle/>
          <a:p>
            <a:r>
              <a:rPr lang="en-US" b="1" dirty="0"/>
              <a:t>Focus on sustainability and ESG:</a:t>
            </a:r>
            <a:br>
              <a:rPr lang="en-US" dirty="0"/>
            </a:br>
            <a:r>
              <a:rPr lang="en-US" dirty="0"/>
              <a:t>We offer our customers E2E support</a:t>
            </a:r>
            <a:endParaRPr lang="de-DE" dirty="0"/>
          </a:p>
        </p:txBody>
      </p:sp>
      <p:sp>
        <p:nvSpPr>
          <p:cNvPr id="3" name="Fußzeilenplatzhalter 1">
            <a:extLst>
              <a:ext uri="{FF2B5EF4-FFF2-40B4-BE49-F238E27FC236}">
                <a16:creationId xmlns:a16="http://schemas.microsoft.com/office/drawing/2014/main" id="{A045E814-227B-A2A3-D9F8-E5AA3C1555A9}"/>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47</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497837" y="2069466"/>
            <a:ext cx="5340140"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sz="1400">
                <a:cs typeface="Calibri"/>
              </a:rPr>
              <a:t>Regulatory requirements | We ensure complete coverage of </a:t>
            </a:r>
            <a:br>
              <a:rPr lang="en-US" sz="1400">
                <a:cs typeface="Calibri"/>
              </a:rPr>
            </a:br>
            <a:r>
              <a:rPr lang="en-US" sz="1400">
                <a:cs typeface="Calibri"/>
              </a:rPr>
              <a:t>regulatory ESG requirements.</a:t>
            </a:r>
          </a:p>
        </p:txBody>
      </p:sp>
      <p:sp>
        <p:nvSpPr>
          <p:cNvPr id="28" name="Textplatzhalter 14">
            <a:extLst>
              <a:ext uri="{FF2B5EF4-FFF2-40B4-BE49-F238E27FC236}">
                <a16:creationId xmlns:a16="http://schemas.microsoft.com/office/drawing/2014/main" id="{3CDCFF25-5E5B-E652-66DB-C24D41654B34}"/>
              </a:ext>
            </a:extLst>
          </p:cNvPr>
          <p:cNvSpPr txBox="1">
            <a:spLocks/>
          </p:cNvSpPr>
          <p:nvPr/>
        </p:nvSpPr>
        <p:spPr>
          <a:xfrm>
            <a:off x="6497837" y="4919758"/>
            <a:ext cx="5340140"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sz="1400">
                <a:cs typeface="Calibri"/>
              </a:rPr>
              <a:t>Growth areas | We focus on ESG innovations as an opportunity </a:t>
            </a:r>
            <a:br>
              <a:rPr lang="en-US" sz="1400">
                <a:cs typeface="Calibri"/>
              </a:rPr>
            </a:br>
            <a:r>
              <a:rPr lang="en-US" sz="1400">
                <a:cs typeface="Calibri"/>
              </a:rPr>
              <a:t>for growth.</a:t>
            </a:r>
          </a:p>
        </p:txBody>
      </p:sp>
      <p:sp>
        <p:nvSpPr>
          <p:cNvPr id="29" name="Textplatzhalter 14">
            <a:extLst>
              <a:ext uri="{FF2B5EF4-FFF2-40B4-BE49-F238E27FC236}">
                <a16:creationId xmlns:a16="http://schemas.microsoft.com/office/drawing/2014/main" id="{44CFB695-FCD0-43B7-39CC-90D0825A51C3}"/>
              </a:ext>
            </a:extLst>
          </p:cNvPr>
          <p:cNvSpPr txBox="1">
            <a:spLocks/>
          </p:cNvSpPr>
          <p:nvPr/>
        </p:nvSpPr>
        <p:spPr>
          <a:xfrm>
            <a:off x="7161035" y="3478136"/>
            <a:ext cx="4676942"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sz="1400">
                <a:cs typeface="Calibri"/>
              </a:rPr>
              <a:t>Sustainability risks | We ensure comprehensive risk management.</a:t>
            </a:r>
          </a:p>
        </p:txBody>
      </p:sp>
      <p:sp>
        <p:nvSpPr>
          <p:cNvPr id="40" name="Textplatzhalter 14">
            <a:extLst>
              <a:ext uri="{FF2B5EF4-FFF2-40B4-BE49-F238E27FC236}">
                <a16:creationId xmlns:a16="http://schemas.microsoft.com/office/drawing/2014/main" id="{7C46C0C9-45B1-9FEF-7079-EFF677229EFA}"/>
              </a:ext>
            </a:extLst>
          </p:cNvPr>
          <p:cNvSpPr txBox="1">
            <a:spLocks/>
          </p:cNvSpPr>
          <p:nvPr/>
        </p:nvSpPr>
        <p:spPr>
          <a:xfrm>
            <a:off x="6975073" y="4227779"/>
            <a:ext cx="4862903"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sz="1400">
                <a:cs typeface="Calibri"/>
              </a:rPr>
              <a:t>Information management | We map relevant information with control tools.</a:t>
            </a:r>
          </a:p>
        </p:txBody>
      </p:sp>
      <p:sp>
        <p:nvSpPr>
          <p:cNvPr id="41" name="Textplatzhalter 14">
            <a:extLst>
              <a:ext uri="{FF2B5EF4-FFF2-40B4-BE49-F238E27FC236}">
                <a16:creationId xmlns:a16="http://schemas.microsoft.com/office/drawing/2014/main" id="{016D87D3-7EDC-54B6-F905-F094AF32B941}"/>
              </a:ext>
            </a:extLst>
          </p:cNvPr>
          <p:cNvSpPr txBox="1">
            <a:spLocks/>
          </p:cNvSpPr>
          <p:nvPr/>
        </p:nvSpPr>
        <p:spPr>
          <a:xfrm>
            <a:off x="6975073" y="2703779"/>
            <a:ext cx="4881965"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err="1">
                <a:cs typeface="Calibri"/>
              </a:rPr>
              <a:t>Sustainability</a:t>
            </a:r>
            <a:r>
              <a:rPr lang="de-DE" sz="1400">
                <a:cs typeface="Calibri"/>
              </a:rPr>
              <a:t> </a:t>
            </a:r>
            <a:r>
              <a:rPr lang="de-DE" sz="1400" err="1">
                <a:cs typeface="Calibri"/>
              </a:rPr>
              <a:t>strategy</a:t>
            </a:r>
            <a:r>
              <a:rPr lang="de-DE" sz="1400">
                <a:cs typeface="Calibri"/>
              </a:rPr>
              <a:t> | </a:t>
            </a:r>
            <a:r>
              <a:rPr lang="de-DE" sz="1400" err="1">
                <a:cs typeface="Calibri"/>
              </a:rPr>
              <a:t>We</a:t>
            </a:r>
            <a:r>
              <a:rPr lang="de-DE" sz="1400">
                <a:cs typeface="Calibri"/>
              </a:rPr>
              <a:t> </a:t>
            </a:r>
            <a:r>
              <a:rPr lang="de-DE" sz="1400" err="1">
                <a:cs typeface="Calibri"/>
              </a:rPr>
              <a:t>ensure</a:t>
            </a:r>
            <a:r>
              <a:rPr lang="de-DE" sz="1400">
                <a:cs typeface="Calibri"/>
              </a:rPr>
              <a:t> a </a:t>
            </a:r>
            <a:r>
              <a:rPr lang="de-DE" sz="1400" err="1">
                <a:cs typeface="Calibri"/>
              </a:rPr>
              <a:t>clear</a:t>
            </a:r>
            <a:r>
              <a:rPr lang="de-DE" sz="1400">
                <a:cs typeface="Calibri"/>
              </a:rPr>
              <a:t> </a:t>
            </a:r>
            <a:r>
              <a:rPr lang="de-DE" sz="1400" err="1">
                <a:cs typeface="Calibri"/>
              </a:rPr>
              <a:t>positioning</a:t>
            </a:r>
            <a:r>
              <a:rPr lang="de-DE" sz="1400">
                <a:cs typeface="Calibri"/>
              </a:rPr>
              <a:t> vis-à-vis relevant </a:t>
            </a:r>
            <a:r>
              <a:rPr lang="de-DE" sz="1400" err="1">
                <a:cs typeface="Calibri"/>
              </a:rPr>
              <a:t>stakeholders</a:t>
            </a:r>
            <a:r>
              <a:rPr lang="de-DE" sz="1400">
                <a:cs typeface="Calibri"/>
              </a:rPr>
              <a:t>.</a:t>
            </a:r>
          </a:p>
        </p:txBody>
      </p:sp>
      <p:pic>
        <p:nvPicPr>
          <p:cNvPr id="2" name="Grafik 1">
            <a:extLst>
              <a:ext uri="{FF2B5EF4-FFF2-40B4-BE49-F238E27FC236}">
                <a16:creationId xmlns:a16="http://schemas.microsoft.com/office/drawing/2014/main" id="{F68836A2-4120-95AC-03FA-0C89DFE2AB68}"/>
              </a:ext>
            </a:extLst>
          </p:cNvPr>
          <p:cNvPicPr>
            <a:picLocks noChangeAspect="1"/>
          </p:cNvPicPr>
          <p:nvPr/>
        </p:nvPicPr>
        <p:blipFill>
          <a:blip r:embed="rId6"/>
          <a:srcRect/>
          <a:stretch/>
        </p:blipFill>
        <p:spPr>
          <a:xfrm>
            <a:off x="623888" y="2311232"/>
            <a:ext cx="5288362" cy="2770582"/>
          </a:xfrm>
          <a:prstGeom prst="rect">
            <a:avLst/>
          </a:prstGeom>
        </p:spPr>
      </p:pic>
      <p:sp>
        <p:nvSpPr>
          <p:cNvPr id="6" name="Oval 5">
            <a:extLst>
              <a:ext uri="{FF2B5EF4-FFF2-40B4-BE49-F238E27FC236}">
                <a16:creationId xmlns:a16="http://schemas.microsoft.com/office/drawing/2014/main" id="{85D12C35-27C4-A515-382D-E06C608988CE}"/>
              </a:ext>
            </a:extLst>
          </p:cNvPr>
          <p:cNvSpPr/>
          <p:nvPr/>
        </p:nvSpPr>
        <p:spPr>
          <a:xfrm>
            <a:off x="6397952" y="3396640"/>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7" name="Oval 6">
            <a:extLst>
              <a:ext uri="{FF2B5EF4-FFF2-40B4-BE49-F238E27FC236}">
                <a16:creationId xmlns:a16="http://schemas.microsoft.com/office/drawing/2014/main" id="{A78EEF1D-6548-BAD5-BD96-E8BFA13E8148}"/>
              </a:ext>
            </a:extLst>
          </p:cNvPr>
          <p:cNvSpPr/>
          <p:nvPr/>
        </p:nvSpPr>
        <p:spPr>
          <a:xfrm>
            <a:off x="6238354" y="4149118"/>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8" name="Oval 7">
            <a:extLst>
              <a:ext uri="{FF2B5EF4-FFF2-40B4-BE49-F238E27FC236}">
                <a16:creationId xmlns:a16="http://schemas.microsoft.com/office/drawing/2014/main" id="{E1B4A8FF-C4B4-E3BA-556B-1EC1A8C85240}"/>
              </a:ext>
            </a:extLst>
          </p:cNvPr>
          <p:cNvSpPr/>
          <p:nvPr/>
        </p:nvSpPr>
        <p:spPr>
          <a:xfrm>
            <a:off x="6238354" y="2644162"/>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1" name="Oval 10">
            <a:extLst>
              <a:ext uri="{FF2B5EF4-FFF2-40B4-BE49-F238E27FC236}">
                <a16:creationId xmlns:a16="http://schemas.microsoft.com/office/drawing/2014/main" id="{63AF67B7-F3F0-A8FC-EDA2-EFB6E99DB8A3}"/>
              </a:ext>
            </a:extLst>
          </p:cNvPr>
          <p:cNvSpPr/>
          <p:nvPr/>
        </p:nvSpPr>
        <p:spPr>
          <a:xfrm>
            <a:off x="5765245" y="2040033"/>
            <a:ext cx="577121" cy="577121"/>
          </a:xfrm>
          <a:prstGeom prst="ellipse">
            <a:avLst/>
          </a:prstGeom>
          <a:solidFill>
            <a:schemeClr val="bg1">
              <a:lumMod val="50000"/>
              <a:alpha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14" name="Oval 13">
            <a:extLst>
              <a:ext uri="{FF2B5EF4-FFF2-40B4-BE49-F238E27FC236}">
                <a16:creationId xmlns:a16="http://schemas.microsoft.com/office/drawing/2014/main" id="{8D58D0BE-958F-FE41-5189-4F2857DB98D6}"/>
              </a:ext>
            </a:extLst>
          </p:cNvPr>
          <p:cNvSpPr/>
          <p:nvPr/>
        </p:nvSpPr>
        <p:spPr>
          <a:xfrm>
            <a:off x="5796886" y="4760743"/>
            <a:ext cx="577121" cy="577121"/>
          </a:xfrm>
          <a:prstGeom prst="ellipse">
            <a:avLst/>
          </a:prstGeom>
          <a:solidFill>
            <a:schemeClr val="bg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pSp>
        <p:nvGrpSpPr>
          <p:cNvPr id="16" name="Gruppieren 15">
            <a:extLst>
              <a:ext uri="{FF2B5EF4-FFF2-40B4-BE49-F238E27FC236}">
                <a16:creationId xmlns:a16="http://schemas.microsoft.com/office/drawing/2014/main" id="{D327DE41-5156-3302-40E5-0AEE74F04CE6}"/>
              </a:ext>
            </a:extLst>
          </p:cNvPr>
          <p:cNvGrpSpPr/>
          <p:nvPr/>
        </p:nvGrpSpPr>
        <p:grpSpPr>
          <a:xfrm>
            <a:off x="6359140" y="2752233"/>
            <a:ext cx="336011" cy="352589"/>
            <a:chOff x="6342371" y="2733367"/>
            <a:chExt cx="362729" cy="380627"/>
          </a:xfrm>
        </p:grpSpPr>
        <p:grpSp>
          <p:nvGrpSpPr>
            <p:cNvPr id="18" name="Grafik 2">
              <a:extLst>
                <a:ext uri="{FF2B5EF4-FFF2-40B4-BE49-F238E27FC236}">
                  <a16:creationId xmlns:a16="http://schemas.microsoft.com/office/drawing/2014/main" id="{BC8A481B-D72E-E475-B55F-FA07851B1413}"/>
                </a:ext>
              </a:extLst>
            </p:cNvPr>
            <p:cNvGrpSpPr/>
            <p:nvPr/>
          </p:nvGrpSpPr>
          <p:grpSpPr>
            <a:xfrm>
              <a:off x="6368029" y="2946374"/>
              <a:ext cx="337071" cy="167620"/>
              <a:chOff x="6368029" y="2946374"/>
              <a:chExt cx="337071" cy="167620"/>
            </a:xfrm>
            <a:noFill/>
          </p:grpSpPr>
          <p:sp>
            <p:nvSpPr>
              <p:cNvPr id="229" name="Freihandform: Form 26">
                <a:extLst>
                  <a:ext uri="{FF2B5EF4-FFF2-40B4-BE49-F238E27FC236}">
                    <a16:creationId xmlns:a16="http://schemas.microsoft.com/office/drawing/2014/main" id="{6F9A39FB-BEB9-9135-3735-529BEF93BCA2}"/>
                  </a:ext>
                </a:extLst>
              </p:cNvPr>
              <p:cNvSpPr/>
              <p:nvPr/>
            </p:nvSpPr>
            <p:spPr>
              <a:xfrm>
                <a:off x="6368029" y="2946374"/>
                <a:ext cx="337071" cy="167620"/>
              </a:xfrm>
              <a:custGeom>
                <a:avLst/>
                <a:gdLst>
                  <a:gd name="connsiteX0" fmla="*/ 0 w 337071"/>
                  <a:gd name="connsiteY0" fmla="*/ 0 h 167620"/>
                  <a:gd name="connsiteX1" fmla="*/ 168536 w 337071"/>
                  <a:gd name="connsiteY1" fmla="*/ 167620 h 167620"/>
                  <a:gd name="connsiteX2" fmla="*/ 337072 w 337071"/>
                  <a:gd name="connsiteY2" fmla="*/ 0 h 167620"/>
                  <a:gd name="connsiteX3" fmla="*/ 0 w 337071"/>
                  <a:gd name="connsiteY3" fmla="*/ 0 h 167620"/>
                </a:gdLst>
                <a:ahLst/>
                <a:cxnLst>
                  <a:cxn ang="0">
                    <a:pos x="connsiteX0" y="connsiteY0"/>
                  </a:cxn>
                  <a:cxn ang="0">
                    <a:pos x="connsiteX1" y="connsiteY1"/>
                  </a:cxn>
                  <a:cxn ang="0">
                    <a:pos x="connsiteX2" y="connsiteY2"/>
                  </a:cxn>
                  <a:cxn ang="0">
                    <a:pos x="connsiteX3" y="connsiteY3"/>
                  </a:cxn>
                </a:cxnLst>
                <a:rect l="l" t="t" r="r" b="b"/>
                <a:pathLst>
                  <a:path w="337071" h="167620">
                    <a:moveTo>
                      <a:pt x="0" y="0"/>
                    </a:moveTo>
                    <a:cubicBezTo>
                      <a:pt x="469" y="92653"/>
                      <a:pt x="75739" y="167620"/>
                      <a:pt x="168536" y="167620"/>
                    </a:cubicBezTo>
                    <a:cubicBezTo>
                      <a:pt x="261332" y="167620"/>
                      <a:pt x="336446" y="92653"/>
                      <a:pt x="337072" y="0"/>
                    </a:cubicBezTo>
                    <a:lnTo>
                      <a:pt x="0" y="0"/>
                    </a:lnTo>
                    <a:close/>
                  </a:path>
                </a:pathLst>
              </a:custGeom>
              <a:noFill/>
              <a:ln w="7734" cap="rnd">
                <a:solidFill>
                  <a:schemeClr val="bg1"/>
                </a:solidFill>
                <a:prstDash val="solid"/>
                <a:round/>
              </a:ln>
            </p:spPr>
            <p:txBody>
              <a:bodyPr rtlCol="0" anchor="ctr"/>
              <a:lstStyle/>
              <a:p>
                <a:endParaRPr lang="de-DE"/>
              </a:p>
            </p:txBody>
          </p:sp>
          <p:sp>
            <p:nvSpPr>
              <p:cNvPr id="230" name="Freihandform: Form 29">
                <a:extLst>
                  <a:ext uri="{FF2B5EF4-FFF2-40B4-BE49-F238E27FC236}">
                    <a16:creationId xmlns:a16="http://schemas.microsoft.com/office/drawing/2014/main" id="{841AA2ED-3AE6-00EC-74BB-7019257202E3}"/>
                  </a:ext>
                </a:extLst>
              </p:cNvPr>
              <p:cNvSpPr/>
              <p:nvPr/>
            </p:nvSpPr>
            <p:spPr>
              <a:xfrm>
                <a:off x="6545641" y="2964529"/>
                <a:ext cx="117208" cy="107364"/>
              </a:xfrm>
              <a:custGeom>
                <a:avLst/>
                <a:gdLst>
                  <a:gd name="connsiteX0" fmla="*/ 117208 w 117208"/>
                  <a:gd name="connsiteY0" fmla="*/ 157 h 107364"/>
                  <a:gd name="connsiteX1" fmla="*/ 117208 w 117208"/>
                  <a:gd name="connsiteY1" fmla="*/ 26137 h 107364"/>
                  <a:gd name="connsiteX2" fmla="*/ 113296 w 117208"/>
                  <a:gd name="connsiteY2" fmla="*/ 33962 h 107364"/>
                  <a:gd name="connsiteX3" fmla="*/ 79652 w 117208"/>
                  <a:gd name="connsiteY3" fmla="*/ 59943 h 107364"/>
                  <a:gd name="connsiteX4" fmla="*/ 75896 w 117208"/>
                  <a:gd name="connsiteY4" fmla="*/ 66203 h 107364"/>
                  <a:gd name="connsiteX5" fmla="*/ 70419 w 117208"/>
                  <a:gd name="connsiteY5" fmla="*/ 99070 h 107364"/>
                  <a:gd name="connsiteX6" fmla="*/ 60560 w 117208"/>
                  <a:gd name="connsiteY6" fmla="*/ 107365 h 107364"/>
                  <a:gd name="connsiteX7" fmla="*/ 38339 w 117208"/>
                  <a:gd name="connsiteY7" fmla="*/ 107365 h 107364"/>
                  <a:gd name="connsiteX8" fmla="*/ 29419 w 117208"/>
                  <a:gd name="connsiteY8" fmla="*/ 101887 h 107364"/>
                  <a:gd name="connsiteX9" fmla="*/ 17996 w 117208"/>
                  <a:gd name="connsiteY9" fmla="*/ 79193 h 107364"/>
                  <a:gd name="connsiteX10" fmla="*/ 13145 w 117208"/>
                  <a:gd name="connsiteY10" fmla="*/ 74498 h 107364"/>
                  <a:gd name="connsiteX11" fmla="*/ 6572 w 117208"/>
                  <a:gd name="connsiteY11" fmla="*/ 71524 h 107364"/>
                  <a:gd name="connsiteX12" fmla="*/ 626 w 117208"/>
                  <a:gd name="connsiteY12" fmla="*/ 62916 h 107364"/>
                  <a:gd name="connsiteX13" fmla="*/ 0 w 117208"/>
                  <a:gd name="connsiteY13" fmla="*/ 50865 h 107364"/>
                  <a:gd name="connsiteX14" fmla="*/ 0 w 117208"/>
                  <a:gd name="connsiteY14" fmla="*/ 50396 h 107364"/>
                  <a:gd name="connsiteX15" fmla="*/ 8294 w 117208"/>
                  <a:gd name="connsiteY15" fmla="*/ 40536 h 107364"/>
                  <a:gd name="connsiteX16" fmla="*/ 16588 w 117208"/>
                  <a:gd name="connsiteY16" fmla="*/ 30676 h 107364"/>
                  <a:gd name="connsiteX17" fmla="*/ 16588 w 117208"/>
                  <a:gd name="connsiteY17" fmla="*/ 27232 h 107364"/>
                  <a:gd name="connsiteX18" fmla="*/ 26603 w 117208"/>
                  <a:gd name="connsiteY18" fmla="*/ 17216 h 107364"/>
                  <a:gd name="connsiteX19" fmla="*/ 41156 w 117208"/>
                  <a:gd name="connsiteY19" fmla="*/ 17216 h 107364"/>
                  <a:gd name="connsiteX20" fmla="*/ 50545 w 117208"/>
                  <a:gd name="connsiteY20" fmla="*/ 10799 h 107364"/>
                  <a:gd name="connsiteX21" fmla="*/ 51484 w 117208"/>
                  <a:gd name="connsiteY21" fmla="*/ 0 h 10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208" h="107364">
                    <a:moveTo>
                      <a:pt x="117208" y="157"/>
                    </a:moveTo>
                    <a:lnTo>
                      <a:pt x="117208" y="26137"/>
                    </a:lnTo>
                    <a:cubicBezTo>
                      <a:pt x="117208" y="29267"/>
                      <a:pt x="115800" y="32084"/>
                      <a:pt x="113296" y="33962"/>
                    </a:cubicBezTo>
                    <a:lnTo>
                      <a:pt x="79652" y="59943"/>
                    </a:lnTo>
                    <a:cubicBezTo>
                      <a:pt x="77617" y="61508"/>
                      <a:pt x="76365" y="63699"/>
                      <a:pt x="75896" y="66203"/>
                    </a:cubicBezTo>
                    <a:lnTo>
                      <a:pt x="70419" y="99070"/>
                    </a:lnTo>
                    <a:cubicBezTo>
                      <a:pt x="69636" y="103921"/>
                      <a:pt x="65411" y="107365"/>
                      <a:pt x="60560" y="107365"/>
                    </a:cubicBezTo>
                    <a:lnTo>
                      <a:pt x="38339" y="107365"/>
                    </a:lnTo>
                    <a:cubicBezTo>
                      <a:pt x="34583" y="107365"/>
                      <a:pt x="31141" y="105173"/>
                      <a:pt x="29419" y="101887"/>
                    </a:cubicBezTo>
                    <a:lnTo>
                      <a:pt x="17996" y="79193"/>
                    </a:lnTo>
                    <a:cubicBezTo>
                      <a:pt x="16901" y="77159"/>
                      <a:pt x="15179" y="75437"/>
                      <a:pt x="13145" y="74498"/>
                    </a:cubicBezTo>
                    <a:lnTo>
                      <a:pt x="6572" y="71524"/>
                    </a:lnTo>
                    <a:cubicBezTo>
                      <a:pt x="3130" y="69959"/>
                      <a:pt x="782" y="66672"/>
                      <a:pt x="626" y="62916"/>
                    </a:cubicBezTo>
                    <a:lnTo>
                      <a:pt x="0" y="50865"/>
                    </a:lnTo>
                    <a:cubicBezTo>
                      <a:pt x="0" y="50709"/>
                      <a:pt x="0" y="50552"/>
                      <a:pt x="0" y="50396"/>
                    </a:cubicBezTo>
                    <a:cubicBezTo>
                      <a:pt x="0" y="45544"/>
                      <a:pt x="3443" y="41475"/>
                      <a:pt x="8294" y="40536"/>
                    </a:cubicBezTo>
                    <a:cubicBezTo>
                      <a:pt x="12988" y="39753"/>
                      <a:pt x="16588" y="35527"/>
                      <a:pt x="16588" y="30676"/>
                    </a:cubicBezTo>
                    <a:lnTo>
                      <a:pt x="16588" y="27232"/>
                    </a:lnTo>
                    <a:cubicBezTo>
                      <a:pt x="16588" y="21755"/>
                      <a:pt x="20969" y="17216"/>
                      <a:pt x="26603" y="17216"/>
                    </a:cubicBezTo>
                    <a:lnTo>
                      <a:pt x="41156" y="17216"/>
                    </a:lnTo>
                    <a:cubicBezTo>
                      <a:pt x="45225" y="17216"/>
                      <a:pt x="48980" y="14712"/>
                      <a:pt x="50545" y="10799"/>
                    </a:cubicBezTo>
                    <a:lnTo>
                      <a:pt x="51484" y="0"/>
                    </a:lnTo>
                  </a:path>
                </a:pathLst>
              </a:custGeom>
              <a:noFill/>
              <a:ln w="7734" cap="rnd">
                <a:solidFill>
                  <a:schemeClr val="bg1"/>
                </a:solidFill>
                <a:prstDash val="solid"/>
                <a:round/>
              </a:ln>
            </p:spPr>
            <p:txBody>
              <a:bodyPr rtlCol="0" anchor="ctr"/>
              <a:lstStyle/>
              <a:p>
                <a:endParaRPr lang="de-DE"/>
              </a:p>
            </p:txBody>
          </p:sp>
          <p:sp>
            <p:nvSpPr>
              <p:cNvPr id="231" name="Freihandform: Form 30">
                <a:extLst>
                  <a:ext uri="{FF2B5EF4-FFF2-40B4-BE49-F238E27FC236}">
                    <a16:creationId xmlns:a16="http://schemas.microsoft.com/office/drawing/2014/main" id="{D5AFA07D-FE3D-270A-EED7-5A0D0A7CB6E6}"/>
                  </a:ext>
                </a:extLst>
              </p:cNvPr>
              <p:cNvSpPr/>
              <p:nvPr/>
            </p:nvSpPr>
            <p:spPr>
              <a:xfrm>
                <a:off x="6413664" y="2964686"/>
                <a:ext cx="108035" cy="91874"/>
              </a:xfrm>
              <a:custGeom>
                <a:avLst/>
                <a:gdLst>
                  <a:gd name="connsiteX0" fmla="*/ 9449 w 108035"/>
                  <a:gd name="connsiteY0" fmla="*/ 0 h 91874"/>
                  <a:gd name="connsiteX1" fmla="*/ 1624 w 108035"/>
                  <a:gd name="connsiteY1" fmla="*/ 39127 h 91874"/>
                  <a:gd name="connsiteX2" fmla="*/ 7571 w 108035"/>
                  <a:gd name="connsiteY2" fmla="*/ 60256 h 91874"/>
                  <a:gd name="connsiteX3" fmla="*/ 9292 w 108035"/>
                  <a:gd name="connsiteY3" fmla="*/ 63229 h 91874"/>
                  <a:gd name="connsiteX4" fmla="*/ 34330 w 108035"/>
                  <a:gd name="connsiteY4" fmla="*/ 89366 h 91874"/>
                  <a:gd name="connsiteX5" fmla="*/ 39338 w 108035"/>
                  <a:gd name="connsiteY5" fmla="*/ 91557 h 91874"/>
                  <a:gd name="connsiteX6" fmla="*/ 57647 w 108035"/>
                  <a:gd name="connsiteY6" fmla="*/ 91870 h 91874"/>
                  <a:gd name="connsiteX7" fmla="*/ 64845 w 108035"/>
                  <a:gd name="connsiteY7" fmla="*/ 83262 h 91874"/>
                  <a:gd name="connsiteX8" fmla="*/ 61246 w 108035"/>
                  <a:gd name="connsiteY8" fmla="*/ 65107 h 91874"/>
                  <a:gd name="connsiteX9" fmla="*/ 62654 w 108035"/>
                  <a:gd name="connsiteY9" fmla="*/ 59317 h 91874"/>
                  <a:gd name="connsiteX10" fmla="*/ 77677 w 108035"/>
                  <a:gd name="connsiteY10" fmla="*/ 40223 h 91874"/>
                  <a:gd name="connsiteX11" fmla="*/ 79242 w 108035"/>
                  <a:gd name="connsiteY11" fmla="*/ 38814 h 91874"/>
                  <a:gd name="connsiteX12" fmla="*/ 94421 w 108035"/>
                  <a:gd name="connsiteY12" fmla="*/ 28328 h 91874"/>
                  <a:gd name="connsiteX13" fmla="*/ 104436 w 108035"/>
                  <a:gd name="connsiteY13" fmla="*/ 16903 h 91874"/>
                  <a:gd name="connsiteX14" fmla="*/ 108035 w 108035"/>
                  <a:gd name="connsiteY14" fmla="*/ 4695 h 9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035" h="91874">
                    <a:moveTo>
                      <a:pt x="9449" y="0"/>
                    </a:moveTo>
                    <a:cubicBezTo>
                      <a:pt x="686" y="10956"/>
                      <a:pt x="-2131" y="25511"/>
                      <a:pt x="1624" y="39127"/>
                    </a:cubicBezTo>
                    <a:lnTo>
                      <a:pt x="7571" y="60256"/>
                    </a:lnTo>
                    <a:cubicBezTo>
                      <a:pt x="7884" y="61351"/>
                      <a:pt x="8510" y="62447"/>
                      <a:pt x="9292" y="63229"/>
                    </a:cubicBezTo>
                    <a:lnTo>
                      <a:pt x="34330" y="89366"/>
                    </a:lnTo>
                    <a:cubicBezTo>
                      <a:pt x="35739" y="90775"/>
                      <a:pt x="37460" y="91557"/>
                      <a:pt x="39338" y="91557"/>
                    </a:cubicBezTo>
                    <a:lnTo>
                      <a:pt x="57647" y="91870"/>
                    </a:lnTo>
                    <a:cubicBezTo>
                      <a:pt x="62185" y="92027"/>
                      <a:pt x="65784" y="87801"/>
                      <a:pt x="64845" y="83262"/>
                    </a:cubicBezTo>
                    <a:lnTo>
                      <a:pt x="61246" y="65107"/>
                    </a:lnTo>
                    <a:cubicBezTo>
                      <a:pt x="60776" y="63073"/>
                      <a:pt x="61402" y="60882"/>
                      <a:pt x="62654" y="59317"/>
                    </a:cubicBezTo>
                    <a:lnTo>
                      <a:pt x="77677" y="40223"/>
                    </a:lnTo>
                    <a:cubicBezTo>
                      <a:pt x="78146" y="39597"/>
                      <a:pt x="78616" y="39127"/>
                      <a:pt x="79242" y="38814"/>
                    </a:cubicBezTo>
                    <a:lnTo>
                      <a:pt x="94421" y="28328"/>
                    </a:lnTo>
                    <a:cubicBezTo>
                      <a:pt x="98646" y="25354"/>
                      <a:pt x="102089" y="21442"/>
                      <a:pt x="104436" y="16903"/>
                    </a:cubicBezTo>
                    <a:cubicBezTo>
                      <a:pt x="106470" y="13147"/>
                      <a:pt x="107566" y="8921"/>
                      <a:pt x="108035" y="4695"/>
                    </a:cubicBezTo>
                  </a:path>
                </a:pathLst>
              </a:custGeom>
              <a:noFill/>
              <a:ln w="7734" cap="rnd">
                <a:solidFill>
                  <a:schemeClr val="bg1"/>
                </a:solidFill>
                <a:prstDash val="solid"/>
                <a:round/>
              </a:ln>
            </p:spPr>
            <p:txBody>
              <a:bodyPr rtlCol="0" anchor="ctr"/>
              <a:lstStyle/>
              <a:p>
                <a:endParaRPr lang="de-DE"/>
              </a:p>
            </p:txBody>
          </p:sp>
        </p:grpSp>
        <p:sp>
          <p:nvSpPr>
            <p:cNvPr id="19" name="Freihandform: Form 31">
              <a:extLst>
                <a:ext uri="{FF2B5EF4-FFF2-40B4-BE49-F238E27FC236}">
                  <a16:creationId xmlns:a16="http://schemas.microsoft.com/office/drawing/2014/main" id="{E098C021-DEF4-A4F3-460A-E10AF55552ED}"/>
                </a:ext>
              </a:extLst>
            </p:cNvPr>
            <p:cNvSpPr/>
            <p:nvPr/>
          </p:nvSpPr>
          <p:spPr>
            <a:xfrm>
              <a:off x="6504329" y="2891283"/>
              <a:ext cx="1564" cy="53838"/>
            </a:xfrm>
            <a:custGeom>
              <a:avLst/>
              <a:gdLst>
                <a:gd name="connsiteX0" fmla="*/ 0 w 1564"/>
                <a:gd name="connsiteY0" fmla="*/ 53839 h 53838"/>
                <a:gd name="connsiteX1" fmla="*/ 0 w 1564"/>
                <a:gd name="connsiteY1" fmla="*/ 0 h 53838"/>
              </a:gdLst>
              <a:ahLst/>
              <a:cxnLst>
                <a:cxn ang="0">
                  <a:pos x="connsiteX0" y="connsiteY0"/>
                </a:cxn>
                <a:cxn ang="0">
                  <a:pos x="connsiteX1" y="connsiteY1"/>
                </a:cxn>
              </a:cxnLst>
              <a:rect l="l" t="t" r="r" b="b"/>
              <a:pathLst>
                <a:path w="1564" h="53838">
                  <a:moveTo>
                    <a:pt x="0" y="53839"/>
                  </a:moveTo>
                  <a:lnTo>
                    <a:pt x="0" y="0"/>
                  </a:lnTo>
                </a:path>
              </a:pathLst>
            </a:custGeom>
            <a:ln w="6847" cap="rnd">
              <a:solidFill>
                <a:schemeClr val="bg1"/>
              </a:solidFill>
              <a:prstDash val="solid"/>
              <a:round/>
            </a:ln>
          </p:spPr>
          <p:txBody>
            <a:bodyPr rtlCol="0" anchor="ctr"/>
            <a:lstStyle/>
            <a:p>
              <a:endParaRPr lang="de-DE"/>
            </a:p>
          </p:txBody>
        </p:sp>
        <p:sp>
          <p:nvSpPr>
            <p:cNvPr id="22" name="Freihandform: Form 32">
              <a:extLst>
                <a:ext uri="{FF2B5EF4-FFF2-40B4-BE49-F238E27FC236}">
                  <a16:creationId xmlns:a16="http://schemas.microsoft.com/office/drawing/2014/main" id="{6672DA41-A942-483C-3CE2-6193833C6617}"/>
                </a:ext>
              </a:extLst>
            </p:cNvPr>
            <p:cNvSpPr/>
            <p:nvPr/>
          </p:nvSpPr>
          <p:spPr>
            <a:xfrm>
              <a:off x="6442830" y="2905682"/>
              <a:ext cx="1564" cy="39283"/>
            </a:xfrm>
            <a:custGeom>
              <a:avLst/>
              <a:gdLst>
                <a:gd name="connsiteX0" fmla="*/ 0 w 1564"/>
                <a:gd name="connsiteY0" fmla="*/ 39284 h 39283"/>
                <a:gd name="connsiteX1" fmla="*/ 0 w 1564"/>
                <a:gd name="connsiteY1" fmla="*/ 0 h 39283"/>
              </a:gdLst>
              <a:ahLst/>
              <a:cxnLst>
                <a:cxn ang="0">
                  <a:pos x="connsiteX0" y="connsiteY0"/>
                </a:cxn>
                <a:cxn ang="0">
                  <a:pos x="connsiteX1" y="connsiteY1"/>
                </a:cxn>
              </a:cxnLst>
              <a:rect l="l" t="t" r="r" b="b"/>
              <a:pathLst>
                <a:path w="1564" h="39283">
                  <a:moveTo>
                    <a:pt x="0" y="39284"/>
                  </a:moveTo>
                  <a:lnTo>
                    <a:pt x="0" y="0"/>
                  </a:lnTo>
                </a:path>
              </a:pathLst>
            </a:custGeom>
            <a:ln w="6847" cap="rnd">
              <a:solidFill>
                <a:schemeClr val="bg1"/>
              </a:solidFill>
              <a:prstDash val="solid"/>
              <a:round/>
            </a:ln>
          </p:spPr>
          <p:txBody>
            <a:bodyPr rtlCol="0" anchor="ctr"/>
            <a:lstStyle/>
            <a:p>
              <a:endParaRPr lang="de-DE"/>
            </a:p>
          </p:txBody>
        </p:sp>
        <p:sp>
          <p:nvSpPr>
            <p:cNvPr id="23" name="Freihandform: Form 33">
              <a:extLst>
                <a:ext uri="{FF2B5EF4-FFF2-40B4-BE49-F238E27FC236}">
                  <a16:creationId xmlns:a16="http://schemas.microsoft.com/office/drawing/2014/main" id="{D0E28DBD-E89F-DE24-B904-B42B716D5B90}"/>
                </a:ext>
              </a:extLst>
            </p:cNvPr>
            <p:cNvSpPr/>
            <p:nvPr/>
          </p:nvSpPr>
          <p:spPr>
            <a:xfrm>
              <a:off x="6342366" y="2733367"/>
              <a:ext cx="1564" cy="1565"/>
            </a:xfrm>
            <a:custGeom>
              <a:avLst/>
              <a:gdLst/>
              <a:ahLst/>
              <a:cxnLst/>
              <a:rect l="l" t="t" r="r" b="b"/>
              <a:pathLst>
                <a:path w="1564" h="1565"/>
              </a:pathLst>
            </a:custGeom>
            <a:noFill/>
            <a:ln w="7734" cap="rnd">
              <a:solidFill>
                <a:schemeClr val="bg1"/>
              </a:solidFill>
              <a:prstDash val="solid"/>
              <a:round/>
            </a:ln>
          </p:spPr>
          <p:txBody>
            <a:bodyPr rtlCol="0" anchor="ctr"/>
            <a:lstStyle/>
            <a:p>
              <a:endParaRPr lang="de-DE"/>
            </a:p>
          </p:txBody>
        </p:sp>
        <p:sp>
          <p:nvSpPr>
            <p:cNvPr id="24" name="Freihandform: Form 34">
              <a:extLst>
                <a:ext uri="{FF2B5EF4-FFF2-40B4-BE49-F238E27FC236}">
                  <a16:creationId xmlns:a16="http://schemas.microsoft.com/office/drawing/2014/main" id="{569908F5-3492-50B0-A62F-D65C93B0787E}"/>
                </a:ext>
              </a:extLst>
            </p:cNvPr>
            <p:cNvSpPr/>
            <p:nvPr/>
          </p:nvSpPr>
          <p:spPr>
            <a:xfrm>
              <a:off x="6416540" y="2819446"/>
              <a:ext cx="52266" cy="86392"/>
            </a:xfrm>
            <a:custGeom>
              <a:avLst/>
              <a:gdLst>
                <a:gd name="connsiteX0" fmla="*/ 40686 w 52266"/>
                <a:gd name="connsiteY0" fmla="*/ 29893 h 86392"/>
                <a:gd name="connsiteX1" fmla="*/ 44912 w 52266"/>
                <a:gd name="connsiteY1" fmla="*/ 18311 h 86392"/>
                <a:gd name="connsiteX2" fmla="*/ 25820 w 52266"/>
                <a:gd name="connsiteY2" fmla="*/ 0 h 86392"/>
                <a:gd name="connsiteX3" fmla="*/ 6885 w 52266"/>
                <a:gd name="connsiteY3" fmla="*/ 18468 h 86392"/>
                <a:gd name="connsiteX4" fmla="*/ 11267 w 52266"/>
                <a:gd name="connsiteY4" fmla="*/ 30206 h 86392"/>
                <a:gd name="connsiteX5" fmla="*/ 0 w 52266"/>
                <a:gd name="connsiteY5" fmla="*/ 55560 h 86392"/>
                <a:gd name="connsiteX6" fmla="*/ 26133 w 52266"/>
                <a:gd name="connsiteY6" fmla="*/ 86392 h 86392"/>
                <a:gd name="connsiteX7" fmla="*/ 52266 w 52266"/>
                <a:gd name="connsiteY7" fmla="*/ 55560 h 86392"/>
                <a:gd name="connsiteX8" fmla="*/ 40686 w 52266"/>
                <a:gd name="connsiteY8" fmla="*/ 29893 h 8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266" h="86392">
                  <a:moveTo>
                    <a:pt x="40686" y="29893"/>
                  </a:moveTo>
                  <a:cubicBezTo>
                    <a:pt x="43347" y="26763"/>
                    <a:pt x="44912" y="22694"/>
                    <a:pt x="44912" y="18311"/>
                  </a:cubicBezTo>
                  <a:cubicBezTo>
                    <a:pt x="44755" y="8138"/>
                    <a:pt x="36305" y="0"/>
                    <a:pt x="25820" y="0"/>
                  </a:cubicBezTo>
                  <a:cubicBezTo>
                    <a:pt x="15336" y="0"/>
                    <a:pt x="6885" y="8295"/>
                    <a:pt x="6885" y="18468"/>
                  </a:cubicBezTo>
                  <a:cubicBezTo>
                    <a:pt x="6885" y="23007"/>
                    <a:pt x="8607" y="27076"/>
                    <a:pt x="11267" y="30206"/>
                  </a:cubicBezTo>
                  <a:cubicBezTo>
                    <a:pt x="4382" y="35840"/>
                    <a:pt x="0" y="45074"/>
                    <a:pt x="0" y="55560"/>
                  </a:cubicBezTo>
                  <a:cubicBezTo>
                    <a:pt x="0" y="72620"/>
                    <a:pt x="11736" y="86392"/>
                    <a:pt x="26133" y="86392"/>
                  </a:cubicBezTo>
                  <a:cubicBezTo>
                    <a:pt x="40530" y="86392"/>
                    <a:pt x="52266" y="72620"/>
                    <a:pt x="52266" y="55560"/>
                  </a:cubicBezTo>
                  <a:cubicBezTo>
                    <a:pt x="52266" y="44761"/>
                    <a:pt x="47728" y="35371"/>
                    <a:pt x="40686" y="29893"/>
                  </a:cubicBezTo>
                  <a:close/>
                </a:path>
              </a:pathLst>
            </a:custGeom>
            <a:noFill/>
            <a:ln w="6847" cap="rnd">
              <a:solidFill>
                <a:schemeClr val="bg1"/>
              </a:solidFill>
              <a:prstDash val="solid"/>
              <a:round/>
            </a:ln>
          </p:spPr>
          <p:txBody>
            <a:bodyPr rtlCol="0" anchor="ctr"/>
            <a:lstStyle/>
            <a:p>
              <a:endParaRPr lang="de-DE"/>
            </a:p>
          </p:txBody>
        </p:sp>
        <p:sp>
          <p:nvSpPr>
            <p:cNvPr id="202" name="Freihandform: Form 35">
              <a:extLst>
                <a:ext uri="{FF2B5EF4-FFF2-40B4-BE49-F238E27FC236}">
                  <a16:creationId xmlns:a16="http://schemas.microsoft.com/office/drawing/2014/main" id="{DB3D5853-01F3-2DF4-896D-AC171F784FCC}"/>
                </a:ext>
              </a:extLst>
            </p:cNvPr>
            <p:cNvSpPr/>
            <p:nvPr/>
          </p:nvSpPr>
          <p:spPr>
            <a:xfrm>
              <a:off x="6470058" y="2798161"/>
              <a:ext cx="67289" cy="92026"/>
            </a:xfrm>
            <a:custGeom>
              <a:avLst/>
              <a:gdLst>
                <a:gd name="connsiteX0" fmla="*/ 54927 w 67289"/>
                <a:gd name="connsiteY0" fmla="*/ 37405 h 92026"/>
                <a:gd name="connsiteX1" fmla="*/ 60247 w 67289"/>
                <a:gd name="connsiteY1" fmla="*/ 23320 h 92026"/>
                <a:gd name="connsiteX2" fmla="*/ 34114 w 67289"/>
                <a:gd name="connsiteY2" fmla="*/ 0 h 92026"/>
                <a:gd name="connsiteX3" fmla="*/ 7981 w 67289"/>
                <a:gd name="connsiteY3" fmla="*/ 23320 h 92026"/>
                <a:gd name="connsiteX4" fmla="*/ 12988 w 67289"/>
                <a:gd name="connsiteY4" fmla="*/ 36936 h 92026"/>
                <a:gd name="connsiteX5" fmla="*/ 0 w 67289"/>
                <a:gd name="connsiteY5" fmla="*/ 61195 h 92026"/>
                <a:gd name="connsiteX6" fmla="*/ 33645 w 67289"/>
                <a:gd name="connsiteY6" fmla="*/ 92027 h 92026"/>
                <a:gd name="connsiteX7" fmla="*/ 67289 w 67289"/>
                <a:gd name="connsiteY7" fmla="*/ 61195 h 92026"/>
                <a:gd name="connsiteX8" fmla="*/ 54927 w 67289"/>
                <a:gd name="connsiteY8" fmla="*/ 37405 h 9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89" h="92026">
                  <a:moveTo>
                    <a:pt x="54927" y="37405"/>
                  </a:moveTo>
                  <a:cubicBezTo>
                    <a:pt x="58213" y="33493"/>
                    <a:pt x="60247" y="28641"/>
                    <a:pt x="60247" y="23320"/>
                  </a:cubicBezTo>
                  <a:cubicBezTo>
                    <a:pt x="60247" y="10486"/>
                    <a:pt x="48511" y="0"/>
                    <a:pt x="34114" y="0"/>
                  </a:cubicBezTo>
                  <a:cubicBezTo>
                    <a:pt x="19717" y="0"/>
                    <a:pt x="7981" y="10486"/>
                    <a:pt x="7981" y="23320"/>
                  </a:cubicBezTo>
                  <a:cubicBezTo>
                    <a:pt x="7981" y="28484"/>
                    <a:pt x="9859" y="33180"/>
                    <a:pt x="12988" y="36936"/>
                  </a:cubicBezTo>
                  <a:cubicBezTo>
                    <a:pt x="5008" y="42570"/>
                    <a:pt x="0" y="51335"/>
                    <a:pt x="0" y="61195"/>
                  </a:cubicBezTo>
                  <a:cubicBezTo>
                    <a:pt x="0" y="78254"/>
                    <a:pt x="15023" y="92027"/>
                    <a:pt x="33645" y="92027"/>
                  </a:cubicBezTo>
                  <a:cubicBezTo>
                    <a:pt x="52266" y="92027"/>
                    <a:pt x="67289" y="78254"/>
                    <a:pt x="67289" y="61195"/>
                  </a:cubicBezTo>
                  <a:cubicBezTo>
                    <a:pt x="67289" y="51648"/>
                    <a:pt x="62438" y="43040"/>
                    <a:pt x="54927" y="37405"/>
                  </a:cubicBezTo>
                  <a:close/>
                </a:path>
              </a:pathLst>
            </a:custGeom>
            <a:noFill/>
            <a:ln w="6029" cap="rnd">
              <a:solidFill>
                <a:schemeClr val="bg1"/>
              </a:solidFill>
              <a:prstDash val="solid"/>
              <a:round/>
            </a:ln>
          </p:spPr>
          <p:txBody>
            <a:bodyPr rtlCol="0" anchor="ctr"/>
            <a:lstStyle/>
            <a:p>
              <a:endParaRPr lang="de-DE"/>
            </a:p>
          </p:txBody>
        </p:sp>
        <p:sp>
          <p:nvSpPr>
            <p:cNvPr id="203" name="Freihandform: Form 36">
              <a:extLst>
                <a:ext uri="{FF2B5EF4-FFF2-40B4-BE49-F238E27FC236}">
                  <a16:creationId xmlns:a16="http://schemas.microsoft.com/office/drawing/2014/main" id="{DAFE2AF8-33E8-C70F-9830-729F978FBEEF}"/>
                </a:ext>
              </a:extLst>
            </p:cNvPr>
            <p:cNvSpPr/>
            <p:nvPr/>
          </p:nvSpPr>
          <p:spPr>
            <a:xfrm>
              <a:off x="6470058" y="2798161"/>
              <a:ext cx="67289" cy="92026"/>
            </a:xfrm>
            <a:custGeom>
              <a:avLst/>
              <a:gdLst>
                <a:gd name="connsiteX0" fmla="*/ 54927 w 67289"/>
                <a:gd name="connsiteY0" fmla="*/ 37405 h 92026"/>
                <a:gd name="connsiteX1" fmla="*/ 60247 w 67289"/>
                <a:gd name="connsiteY1" fmla="*/ 23320 h 92026"/>
                <a:gd name="connsiteX2" fmla="*/ 34114 w 67289"/>
                <a:gd name="connsiteY2" fmla="*/ 0 h 92026"/>
                <a:gd name="connsiteX3" fmla="*/ 7981 w 67289"/>
                <a:gd name="connsiteY3" fmla="*/ 23320 h 92026"/>
                <a:gd name="connsiteX4" fmla="*/ 12988 w 67289"/>
                <a:gd name="connsiteY4" fmla="*/ 36936 h 92026"/>
                <a:gd name="connsiteX5" fmla="*/ 0 w 67289"/>
                <a:gd name="connsiteY5" fmla="*/ 61195 h 92026"/>
                <a:gd name="connsiteX6" fmla="*/ 33645 w 67289"/>
                <a:gd name="connsiteY6" fmla="*/ 92027 h 92026"/>
                <a:gd name="connsiteX7" fmla="*/ 67289 w 67289"/>
                <a:gd name="connsiteY7" fmla="*/ 61195 h 92026"/>
                <a:gd name="connsiteX8" fmla="*/ 54927 w 67289"/>
                <a:gd name="connsiteY8" fmla="*/ 37405 h 9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89" h="92026">
                  <a:moveTo>
                    <a:pt x="54927" y="37405"/>
                  </a:moveTo>
                  <a:cubicBezTo>
                    <a:pt x="58213" y="33493"/>
                    <a:pt x="60247" y="28641"/>
                    <a:pt x="60247" y="23320"/>
                  </a:cubicBezTo>
                  <a:cubicBezTo>
                    <a:pt x="60247" y="10486"/>
                    <a:pt x="48511" y="0"/>
                    <a:pt x="34114" y="0"/>
                  </a:cubicBezTo>
                  <a:cubicBezTo>
                    <a:pt x="19717" y="0"/>
                    <a:pt x="7981" y="10486"/>
                    <a:pt x="7981" y="23320"/>
                  </a:cubicBezTo>
                  <a:cubicBezTo>
                    <a:pt x="7981" y="28484"/>
                    <a:pt x="9859" y="33180"/>
                    <a:pt x="12988" y="36936"/>
                  </a:cubicBezTo>
                  <a:cubicBezTo>
                    <a:pt x="5008" y="42570"/>
                    <a:pt x="0" y="51335"/>
                    <a:pt x="0" y="61195"/>
                  </a:cubicBezTo>
                  <a:cubicBezTo>
                    <a:pt x="0" y="78254"/>
                    <a:pt x="15023" y="92027"/>
                    <a:pt x="33645" y="92027"/>
                  </a:cubicBezTo>
                  <a:cubicBezTo>
                    <a:pt x="52266" y="92027"/>
                    <a:pt x="67289" y="78254"/>
                    <a:pt x="67289" y="61195"/>
                  </a:cubicBezTo>
                  <a:cubicBezTo>
                    <a:pt x="67289" y="51648"/>
                    <a:pt x="62438" y="43040"/>
                    <a:pt x="54927" y="37405"/>
                  </a:cubicBezTo>
                  <a:close/>
                </a:path>
              </a:pathLst>
            </a:custGeom>
            <a:noFill/>
            <a:ln w="6847" cap="rnd">
              <a:solidFill>
                <a:schemeClr val="bg1"/>
              </a:solidFill>
              <a:prstDash val="solid"/>
              <a:round/>
            </a:ln>
          </p:spPr>
          <p:txBody>
            <a:bodyPr rtlCol="0" anchor="ctr"/>
            <a:lstStyle/>
            <a:p>
              <a:endParaRPr lang="de-DE"/>
            </a:p>
          </p:txBody>
        </p:sp>
        <p:sp>
          <p:nvSpPr>
            <p:cNvPr id="204" name="Freihandform: Form 37">
              <a:extLst>
                <a:ext uri="{FF2B5EF4-FFF2-40B4-BE49-F238E27FC236}">
                  <a16:creationId xmlns:a16="http://schemas.microsoft.com/office/drawing/2014/main" id="{8F18E3D3-4272-EF9B-F69B-885BE8AA7C65}"/>
                </a:ext>
              </a:extLst>
            </p:cNvPr>
            <p:cNvSpPr/>
            <p:nvPr/>
          </p:nvSpPr>
          <p:spPr>
            <a:xfrm>
              <a:off x="6581007" y="2876258"/>
              <a:ext cx="69010" cy="70272"/>
            </a:xfrm>
            <a:custGeom>
              <a:avLst/>
              <a:gdLst>
                <a:gd name="connsiteX0" fmla="*/ 0 w 69010"/>
                <a:gd name="connsiteY0" fmla="*/ 0 h 70272"/>
                <a:gd name="connsiteX1" fmla="*/ 69010 w 69010"/>
                <a:gd name="connsiteY1" fmla="*/ 0 h 70272"/>
                <a:gd name="connsiteX2" fmla="*/ 69010 w 69010"/>
                <a:gd name="connsiteY2" fmla="*/ 70272 h 70272"/>
                <a:gd name="connsiteX3" fmla="*/ 0 w 69010"/>
                <a:gd name="connsiteY3" fmla="*/ 70272 h 70272"/>
              </a:gdLst>
              <a:ahLst/>
              <a:cxnLst>
                <a:cxn ang="0">
                  <a:pos x="connsiteX0" y="connsiteY0"/>
                </a:cxn>
                <a:cxn ang="0">
                  <a:pos x="connsiteX1" y="connsiteY1"/>
                </a:cxn>
                <a:cxn ang="0">
                  <a:pos x="connsiteX2" y="connsiteY2"/>
                </a:cxn>
                <a:cxn ang="0">
                  <a:pos x="connsiteX3" y="connsiteY3"/>
                </a:cxn>
              </a:cxnLst>
              <a:rect l="l" t="t" r="r" b="b"/>
              <a:pathLst>
                <a:path w="69010" h="70272">
                  <a:moveTo>
                    <a:pt x="0" y="0"/>
                  </a:moveTo>
                  <a:lnTo>
                    <a:pt x="69010" y="0"/>
                  </a:lnTo>
                  <a:lnTo>
                    <a:pt x="69010" y="70272"/>
                  </a:lnTo>
                  <a:lnTo>
                    <a:pt x="0" y="70272"/>
                  </a:lnTo>
                  <a:close/>
                </a:path>
              </a:pathLst>
            </a:custGeom>
            <a:noFill/>
            <a:ln w="6847" cap="rnd">
              <a:solidFill>
                <a:schemeClr val="bg1"/>
              </a:solidFill>
              <a:prstDash val="solid"/>
              <a:round/>
            </a:ln>
          </p:spPr>
          <p:txBody>
            <a:bodyPr rtlCol="0" anchor="ctr"/>
            <a:lstStyle/>
            <a:p>
              <a:endParaRPr lang="de-DE"/>
            </a:p>
          </p:txBody>
        </p:sp>
        <p:sp>
          <p:nvSpPr>
            <p:cNvPr id="205" name="Freihandform: Form 41">
              <a:extLst>
                <a:ext uri="{FF2B5EF4-FFF2-40B4-BE49-F238E27FC236}">
                  <a16:creationId xmlns:a16="http://schemas.microsoft.com/office/drawing/2014/main" id="{F5020A1D-0C86-B453-9D8B-3AB8CAA0D540}"/>
                </a:ext>
              </a:extLst>
            </p:cNvPr>
            <p:cNvSpPr/>
            <p:nvPr/>
          </p:nvSpPr>
          <p:spPr>
            <a:xfrm>
              <a:off x="6628110"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06" name="Freihandform: Form 42">
              <a:extLst>
                <a:ext uri="{FF2B5EF4-FFF2-40B4-BE49-F238E27FC236}">
                  <a16:creationId xmlns:a16="http://schemas.microsoft.com/office/drawing/2014/main" id="{B77907FC-ADBB-BC77-9A75-1CF1C153B4A8}"/>
                </a:ext>
              </a:extLst>
            </p:cNvPr>
            <p:cNvSpPr/>
            <p:nvPr/>
          </p:nvSpPr>
          <p:spPr>
            <a:xfrm>
              <a:off x="6628110"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07" name="Freihandform: Form 43">
              <a:extLst>
                <a:ext uri="{FF2B5EF4-FFF2-40B4-BE49-F238E27FC236}">
                  <a16:creationId xmlns:a16="http://schemas.microsoft.com/office/drawing/2014/main" id="{A7300D02-1E7C-B674-5632-27349C87D621}"/>
                </a:ext>
              </a:extLst>
            </p:cNvPr>
            <p:cNvSpPr/>
            <p:nvPr/>
          </p:nvSpPr>
          <p:spPr>
            <a:xfrm>
              <a:off x="6628110"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08" name="Freihandform: Form 44">
              <a:extLst>
                <a:ext uri="{FF2B5EF4-FFF2-40B4-BE49-F238E27FC236}">
                  <a16:creationId xmlns:a16="http://schemas.microsoft.com/office/drawing/2014/main" id="{349A40BD-BABA-310A-E03E-38E9C6353FF8}"/>
                </a:ext>
              </a:extLst>
            </p:cNvPr>
            <p:cNvSpPr/>
            <p:nvPr/>
          </p:nvSpPr>
          <p:spPr>
            <a:xfrm>
              <a:off x="6609801"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09" name="Freihandform: Form 45">
              <a:extLst>
                <a:ext uri="{FF2B5EF4-FFF2-40B4-BE49-F238E27FC236}">
                  <a16:creationId xmlns:a16="http://schemas.microsoft.com/office/drawing/2014/main" id="{42381F9E-9033-A2AB-CB05-B5A06DDE3AA8}"/>
                </a:ext>
              </a:extLst>
            </p:cNvPr>
            <p:cNvSpPr/>
            <p:nvPr/>
          </p:nvSpPr>
          <p:spPr>
            <a:xfrm>
              <a:off x="6609801"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0" name="Freihandform: Form 46">
              <a:extLst>
                <a:ext uri="{FF2B5EF4-FFF2-40B4-BE49-F238E27FC236}">
                  <a16:creationId xmlns:a16="http://schemas.microsoft.com/office/drawing/2014/main" id="{EE195EA8-0D45-DCDD-AB12-704C2B380E24}"/>
                </a:ext>
              </a:extLst>
            </p:cNvPr>
            <p:cNvSpPr/>
            <p:nvPr/>
          </p:nvSpPr>
          <p:spPr>
            <a:xfrm>
              <a:off x="6609801"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1" name="Freihandform: Form 47">
              <a:extLst>
                <a:ext uri="{FF2B5EF4-FFF2-40B4-BE49-F238E27FC236}">
                  <a16:creationId xmlns:a16="http://schemas.microsoft.com/office/drawing/2014/main" id="{98BE6164-6F92-1A8C-FAB1-D64F7E3FB4BC}"/>
                </a:ext>
              </a:extLst>
            </p:cNvPr>
            <p:cNvSpPr/>
            <p:nvPr/>
          </p:nvSpPr>
          <p:spPr>
            <a:xfrm>
              <a:off x="6591492"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2" name="Freihandform: Form 48">
              <a:extLst>
                <a:ext uri="{FF2B5EF4-FFF2-40B4-BE49-F238E27FC236}">
                  <a16:creationId xmlns:a16="http://schemas.microsoft.com/office/drawing/2014/main" id="{0B54C399-215B-66AF-68AC-109D89E07129}"/>
                </a:ext>
              </a:extLst>
            </p:cNvPr>
            <p:cNvSpPr/>
            <p:nvPr/>
          </p:nvSpPr>
          <p:spPr>
            <a:xfrm>
              <a:off x="6591492"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3" name="Freihandform: Form 49">
              <a:extLst>
                <a:ext uri="{FF2B5EF4-FFF2-40B4-BE49-F238E27FC236}">
                  <a16:creationId xmlns:a16="http://schemas.microsoft.com/office/drawing/2014/main" id="{8DFEF4DA-25EF-1AF7-16A2-B7D1F266EAED}"/>
                </a:ext>
              </a:extLst>
            </p:cNvPr>
            <p:cNvSpPr/>
            <p:nvPr/>
          </p:nvSpPr>
          <p:spPr>
            <a:xfrm>
              <a:off x="6591492"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4" name="Freihandform: Form 50">
              <a:extLst>
                <a:ext uri="{FF2B5EF4-FFF2-40B4-BE49-F238E27FC236}">
                  <a16:creationId xmlns:a16="http://schemas.microsoft.com/office/drawing/2014/main" id="{87597765-1C1A-2E3E-A8BD-54AB3D942867}"/>
                </a:ext>
              </a:extLst>
            </p:cNvPr>
            <p:cNvSpPr/>
            <p:nvPr/>
          </p:nvSpPr>
          <p:spPr>
            <a:xfrm>
              <a:off x="6532183" y="2838853"/>
              <a:ext cx="69010" cy="36309"/>
            </a:xfrm>
            <a:custGeom>
              <a:avLst/>
              <a:gdLst>
                <a:gd name="connsiteX0" fmla="*/ 0 w 69010"/>
                <a:gd name="connsiteY0" fmla="*/ 3130 h 36309"/>
                <a:gd name="connsiteX1" fmla="*/ 0 w 69010"/>
                <a:gd name="connsiteY1" fmla="*/ 0 h 36309"/>
                <a:gd name="connsiteX2" fmla="*/ 69010 w 69010"/>
                <a:gd name="connsiteY2" fmla="*/ 0 h 36309"/>
                <a:gd name="connsiteX3" fmla="*/ 69010 w 69010"/>
                <a:gd name="connsiteY3" fmla="*/ 36310 h 36309"/>
              </a:gdLst>
              <a:ahLst/>
              <a:cxnLst>
                <a:cxn ang="0">
                  <a:pos x="connsiteX0" y="connsiteY0"/>
                </a:cxn>
                <a:cxn ang="0">
                  <a:pos x="connsiteX1" y="connsiteY1"/>
                </a:cxn>
                <a:cxn ang="0">
                  <a:pos x="connsiteX2" y="connsiteY2"/>
                </a:cxn>
                <a:cxn ang="0">
                  <a:pos x="connsiteX3" y="connsiteY3"/>
                </a:cxn>
              </a:cxnLst>
              <a:rect l="l" t="t" r="r" b="b"/>
              <a:pathLst>
                <a:path w="69010" h="36309">
                  <a:moveTo>
                    <a:pt x="0" y="3130"/>
                  </a:moveTo>
                  <a:lnTo>
                    <a:pt x="0" y="0"/>
                  </a:lnTo>
                  <a:lnTo>
                    <a:pt x="69010" y="0"/>
                  </a:lnTo>
                  <a:lnTo>
                    <a:pt x="69010" y="36310"/>
                  </a:lnTo>
                </a:path>
              </a:pathLst>
            </a:custGeom>
            <a:noFill/>
            <a:ln w="6847" cap="rnd">
              <a:solidFill>
                <a:schemeClr val="bg1"/>
              </a:solidFill>
              <a:prstDash val="solid"/>
              <a:round/>
            </a:ln>
          </p:spPr>
          <p:txBody>
            <a:bodyPr rtlCol="0" anchor="ctr"/>
            <a:lstStyle/>
            <a:p>
              <a:endParaRPr lang="de-DE"/>
            </a:p>
          </p:txBody>
        </p:sp>
        <p:sp>
          <p:nvSpPr>
            <p:cNvPr id="215" name="Freihandform: Form 51">
              <a:extLst>
                <a:ext uri="{FF2B5EF4-FFF2-40B4-BE49-F238E27FC236}">
                  <a16:creationId xmlns:a16="http://schemas.microsoft.com/office/drawing/2014/main" id="{F8AEC9AE-4BAA-B903-0910-2ACE0ED75D9B}"/>
                </a:ext>
              </a:extLst>
            </p:cNvPr>
            <p:cNvSpPr/>
            <p:nvPr/>
          </p:nvSpPr>
          <p:spPr>
            <a:xfrm>
              <a:off x="6532183" y="2878450"/>
              <a:ext cx="45068" cy="67924"/>
            </a:xfrm>
            <a:custGeom>
              <a:avLst/>
              <a:gdLst>
                <a:gd name="connsiteX0" fmla="*/ 45068 w 45068"/>
                <a:gd name="connsiteY0" fmla="*/ 67925 h 67924"/>
                <a:gd name="connsiteX1" fmla="*/ 0 w 45068"/>
                <a:gd name="connsiteY1" fmla="*/ 67925 h 67924"/>
                <a:gd name="connsiteX2" fmla="*/ 0 w 45068"/>
                <a:gd name="connsiteY2" fmla="*/ 0 h 67924"/>
              </a:gdLst>
              <a:ahLst/>
              <a:cxnLst>
                <a:cxn ang="0">
                  <a:pos x="connsiteX0" y="connsiteY0"/>
                </a:cxn>
                <a:cxn ang="0">
                  <a:pos x="connsiteX1" y="connsiteY1"/>
                </a:cxn>
                <a:cxn ang="0">
                  <a:pos x="connsiteX2" y="connsiteY2"/>
                </a:cxn>
              </a:cxnLst>
              <a:rect l="l" t="t" r="r" b="b"/>
              <a:pathLst>
                <a:path w="45068" h="67924">
                  <a:moveTo>
                    <a:pt x="45068" y="67925"/>
                  </a:moveTo>
                  <a:lnTo>
                    <a:pt x="0" y="67925"/>
                  </a:lnTo>
                  <a:lnTo>
                    <a:pt x="0" y="0"/>
                  </a:lnTo>
                </a:path>
              </a:pathLst>
            </a:custGeom>
            <a:noFill/>
            <a:ln w="6847" cap="rnd">
              <a:solidFill>
                <a:schemeClr val="bg1"/>
              </a:solidFill>
              <a:prstDash val="solid"/>
              <a:round/>
            </a:ln>
          </p:spPr>
          <p:txBody>
            <a:bodyPr rtlCol="0" anchor="ctr"/>
            <a:lstStyle/>
            <a:p>
              <a:endParaRPr lang="de-DE"/>
            </a:p>
          </p:txBody>
        </p:sp>
        <p:sp>
          <p:nvSpPr>
            <p:cNvPr id="216" name="Freihandform: Form 52">
              <a:extLst>
                <a:ext uri="{FF2B5EF4-FFF2-40B4-BE49-F238E27FC236}">
                  <a16:creationId xmlns:a16="http://schemas.microsoft.com/office/drawing/2014/main" id="{FBE114B9-81A4-D32D-8A7E-A3FD08E0CDB6}"/>
                </a:ext>
              </a:extLst>
            </p:cNvPr>
            <p:cNvSpPr/>
            <p:nvPr/>
          </p:nvSpPr>
          <p:spPr>
            <a:xfrm>
              <a:off x="6560977"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7" name="Freihandform: Form 53">
              <a:extLst>
                <a:ext uri="{FF2B5EF4-FFF2-40B4-BE49-F238E27FC236}">
                  <a16:creationId xmlns:a16="http://schemas.microsoft.com/office/drawing/2014/main" id="{D81E43CB-9C8F-95C9-AAEB-6ADD5B57046D}"/>
                </a:ext>
              </a:extLst>
            </p:cNvPr>
            <p:cNvSpPr/>
            <p:nvPr/>
          </p:nvSpPr>
          <p:spPr>
            <a:xfrm>
              <a:off x="6560977"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8" name="Freihandform: Form 54">
              <a:extLst>
                <a:ext uri="{FF2B5EF4-FFF2-40B4-BE49-F238E27FC236}">
                  <a16:creationId xmlns:a16="http://schemas.microsoft.com/office/drawing/2014/main" id="{96FA852A-FA4D-868E-24AD-BCA09F5F414D}"/>
                </a:ext>
              </a:extLst>
            </p:cNvPr>
            <p:cNvSpPr/>
            <p:nvPr/>
          </p:nvSpPr>
          <p:spPr>
            <a:xfrm>
              <a:off x="6560977"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19" name="Freihandform: Form 55">
              <a:extLst>
                <a:ext uri="{FF2B5EF4-FFF2-40B4-BE49-F238E27FC236}">
                  <a16:creationId xmlns:a16="http://schemas.microsoft.com/office/drawing/2014/main" id="{956A8934-34B3-1149-5E48-603F39B633DD}"/>
                </a:ext>
              </a:extLst>
            </p:cNvPr>
            <p:cNvSpPr/>
            <p:nvPr/>
          </p:nvSpPr>
          <p:spPr>
            <a:xfrm>
              <a:off x="6542668"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0" name="Freihandform: Form 56">
              <a:extLst>
                <a:ext uri="{FF2B5EF4-FFF2-40B4-BE49-F238E27FC236}">
                  <a16:creationId xmlns:a16="http://schemas.microsoft.com/office/drawing/2014/main" id="{ED7A92B4-32FE-01A1-D095-6DFF47E9FC09}"/>
                </a:ext>
              </a:extLst>
            </p:cNvPr>
            <p:cNvSpPr/>
            <p:nvPr/>
          </p:nvSpPr>
          <p:spPr>
            <a:xfrm>
              <a:off x="6542668"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1" name="Freihandform: Form 57">
              <a:extLst>
                <a:ext uri="{FF2B5EF4-FFF2-40B4-BE49-F238E27FC236}">
                  <a16:creationId xmlns:a16="http://schemas.microsoft.com/office/drawing/2014/main" id="{C1476ADC-C5B8-5C19-54E5-16AC3DEEB785}"/>
                </a:ext>
              </a:extLst>
            </p:cNvPr>
            <p:cNvSpPr/>
            <p:nvPr/>
          </p:nvSpPr>
          <p:spPr>
            <a:xfrm>
              <a:off x="6542668"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2" name="Freihandform: Form 58">
              <a:extLst>
                <a:ext uri="{FF2B5EF4-FFF2-40B4-BE49-F238E27FC236}">
                  <a16:creationId xmlns:a16="http://schemas.microsoft.com/office/drawing/2014/main" id="{2FBB3A6A-2DD5-E27A-A4CC-CA2A45ECD6A2}"/>
                </a:ext>
              </a:extLst>
            </p:cNvPr>
            <p:cNvSpPr/>
            <p:nvPr/>
          </p:nvSpPr>
          <p:spPr>
            <a:xfrm>
              <a:off x="6560977" y="2869372"/>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3" name="Freihandform: Form 59">
              <a:extLst>
                <a:ext uri="{FF2B5EF4-FFF2-40B4-BE49-F238E27FC236}">
                  <a16:creationId xmlns:a16="http://schemas.microsoft.com/office/drawing/2014/main" id="{4F57F373-C1E0-5ADC-3033-23533D9148CF}"/>
                </a:ext>
              </a:extLst>
            </p:cNvPr>
            <p:cNvSpPr/>
            <p:nvPr/>
          </p:nvSpPr>
          <p:spPr>
            <a:xfrm>
              <a:off x="6542668" y="2869372"/>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4" name="Freihandform: Form 60">
              <a:extLst>
                <a:ext uri="{FF2B5EF4-FFF2-40B4-BE49-F238E27FC236}">
                  <a16:creationId xmlns:a16="http://schemas.microsoft.com/office/drawing/2014/main" id="{B58A8524-70AD-6126-B718-CEF7E9DC7BA0}"/>
                </a:ext>
              </a:extLst>
            </p:cNvPr>
            <p:cNvSpPr/>
            <p:nvPr/>
          </p:nvSpPr>
          <p:spPr>
            <a:xfrm>
              <a:off x="6579286"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5" name="Freihandform: Form 61">
              <a:extLst>
                <a:ext uri="{FF2B5EF4-FFF2-40B4-BE49-F238E27FC236}">
                  <a16:creationId xmlns:a16="http://schemas.microsoft.com/office/drawing/2014/main" id="{DB230FBA-189B-AEC5-5284-54F468AF6231}"/>
                </a:ext>
              </a:extLst>
            </p:cNvPr>
            <p:cNvSpPr/>
            <p:nvPr/>
          </p:nvSpPr>
          <p:spPr>
            <a:xfrm>
              <a:off x="6560977"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6" name="Freihandform: Form 62">
              <a:extLst>
                <a:ext uri="{FF2B5EF4-FFF2-40B4-BE49-F238E27FC236}">
                  <a16:creationId xmlns:a16="http://schemas.microsoft.com/office/drawing/2014/main" id="{EA04D79C-28C2-2B2B-12F3-26A9B1D3ADD7}"/>
                </a:ext>
              </a:extLst>
            </p:cNvPr>
            <p:cNvSpPr/>
            <p:nvPr/>
          </p:nvSpPr>
          <p:spPr>
            <a:xfrm>
              <a:off x="6542668"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227" name="Freihandform: Form 191">
              <a:extLst>
                <a:ext uri="{FF2B5EF4-FFF2-40B4-BE49-F238E27FC236}">
                  <a16:creationId xmlns:a16="http://schemas.microsoft.com/office/drawing/2014/main" id="{C24C78AD-9542-E5F2-E16C-A009C37E46A2}"/>
                </a:ext>
              </a:extLst>
            </p:cNvPr>
            <p:cNvSpPr/>
            <p:nvPr/>
          </p:nvSpPr>
          <p:spPr>
            <a:xfrm>
              <a:off x="6342441" y="2754925"/>
              <a:ext cx="173804" cy="154635"/>
            </a:xfrm>
            <a:custGeom>
              <a:avLst/>
              <a:gdLst>
                <a:gd name="connsiteX0" fmla="*/ 169869 w 173804"/>
                <a:gd name="connsiteY0" fmla="*/ 8960 h 154635"/>
                <a:gd name="connsiteX1" fmla="*/ 172060 w 173804"/>
                <a:gd name="connsiteY1" fmla="*/ 8021 h 154635"/>
                <a:gd name="connsiteX2" fmla="*/ 173781 w 173804"/>
                <a:gd name="connsiteY2" fmla="*/ 3952 h 154635"/>
                <a:gd name="connsiteX3" fmla="*/ 172060 w 173804"/>
                <a:gd name="connsiteY3" fmla="*/ 978 h 154635"/>
                <a:gd name="connsiteX4" fmla="*/ 168774 w 173804"/>
                <a:gd name="connsiteY4" fmla="*/ 39 h 154635"/>
                <a:gd name="connsiteX5" fmla="*/ 85523 w 173804"/>
                <a:gd name="connsiteY5" fmla="*/ 35253 h 154635"/>
                <a:gd name="connsiteX6" fmla="*/ 26215 w 173804"/>
                <a:gd name="connsiteY6" fmla="*/ 124776 h 154635"/>
                <a:gd name="connsiteX7" fmla="*/ 22772 w 173804"/>
                <a:gd name="connsiteY7" fmla="*/ 137610 h 154635"/>
                <a:gd name="connsiteX8" fmla="*/ 8062 w 173804"/>
                <a:gd name="connsiteY8" fmla="*/ 115073 h 154635"/>
                <a:gd name="connsiteX9" fmla="*/ 4306 w 173804"/>
                <a:gd name="connsiteY9" fmla="*/ 113038 h 154635"/>
                <a:gd name="connsiteX10" fmla="*/ 1959 w 173804"/>
                <a:gd name="connsiteY10" fmla="*/ 113821 h 154635"/>
                <a:gd name="connsiteX11" fmla="*/ 1646 w 173804"/>
                <a:gd name="connsiteY11" fmla="*/ 113977 h 154635"/>
                <a:gd name="connsiteX12" fmla="*/ 707 w 173804"/>
                <a:gd name="connsiteY12" fmla="*/ 119924 h 154635"/>
                <a:gd name="connsiteX13" fmla="*/ 22146 w 173804"/>
                <a:gd name="connsiteY13" fmla="*/ 152635 h 154635"/>
                <a:gd name="connsiteX14" fmla="*/ 24963 w 173804"/>
                <a:gd name="connsiteY14" fmla="*/ 154513 h 154635"/>
                <a:gd name="connsiteX15" fmla="*/ 28249 w 173804"/>
                <a:gd name="connsiteY15" fmla="*/ 153887 h 154635"/>
                <a:gd name="connsiteX16" fmla="*/ 60955 w 173804"/>
                <a:gd name="connsiteY16" fmla="*/ 132445 h 154635"/>
                <a:gd name="connsiteX17" fmla="*/ 61268 w 173804"/>
                <a:gd name="connsiteY17" fmla="*/ 132289 h 154635"/>
                <a:gd name="connsiteX18" fmla="*/ 62206 w 173804"/>
                <a:gd name="connsiteY18" fmla="*/ 126341 h 154635"/>
                <a:gd name="connsiteX19" fmla="*/ 59390 w 173804"/>
                <a:gd name="connsiteY19" fmla="*/ 124463 h 154635"/>
                <a:gd name="connsiteX20" fmla="*/ 56103 w 173804"/>
                <a:gd name="connsiteY20" fmla="*/ 125089 h 154635"/>
                <a:gd name="connsiteX21" fmla="*/ 30753 w 173804"/>
                <a:gd name="connsiteY21" fmla="*/ 141679 h 154635"/>
                <a:gd name="connsiteX22" fmla="*/ 34978 w 173804"/>
                <a:gd name="connsiteY22" fmla="*/ 126498 h 154635"/>
                <a:gd name="connsiteX23" fmla="*/ 91000 w 173804"/>
                <a:gd name="connsiteY23" fmla="*/ 42296 h 154635"/>
                <a:gd name="connsiteX24" fmla="*/ 169869 w 173804"/>
                <a:gd name="connsiteY24" fmla="*/ 8960 h 15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3804" h="154635">
                  <a:moveTo>
                    <a:pt x="169869" y="8960"/>
                  </a:moveTo>
                  <a:cubicBezTo>
                    <a:pt x="170651" y="8804"/>
                    <a:pt x="171434" y="8491"/>
                    <a:pt x="172060" y="8021"/>
                  </a:cubicBezTo>
                  <a:cubicBezTo>
                    <a:pt x="173312" y="7082"/>
                    <a:pt x="173938" y="5517"/>
                    <a:pt x="173781" y="3952"/>
                  </a:cubicBezTo>
                  <a:cubicBezTo>
                    <a:pt x="173625" y="2856"/>
                    <a:pt x="172999" y="1761"/>
                    <a:pt x="172060" y="978"/>
                  </a:cubicBezTo>
                  <a:cubicBezTo>
                    <a:pt x="171121" y="196"/>
                    <a:pt x="170025" y="-117"/>
                    <a:pt x="168774" y="39"/>
                  </a:cubicBezTo>
                  <a:cubicBezTo>
                    <a:pt x="138415" y="4108"/>
                    <a:pt x="109622" y="16159"/>
                    <a:pt x="85523" y="35253"/>
                  </a:cubicBezTo>
                  <a:cubicBezTo>
                    <a:pt x="56416" y="58417"/>
                    <a:pt x="35917" y="89249"/>
                    <a:pt x="26215" y="124776"/>
                  </a:cubicBezTo>
                  <a:lnTo>
                    <a:pt x="22772" y="137610"/>
                  </a:lnTo>
                  <a:lnTo>
                    <a:pt x="8062" y="115073"/>
                  </a:lnTo>
                  <a:cubicBezTo>
                    <a:pt x="7123" y="113821"/>
                    <a:pt x="5715" y="113038"/>
                    <a:pt x="4306" y="113038"/>
                  </a:cubicBezTo>
                  <a:cubicBezTo>
                    <a:pt x="3524" y="113038"/>
                    <a:pt x="2585" y="113195"/>
                    <a:pt x="1959" y="113821"/>
                  </a:cubicBezTo>
                  <a:cubicBezTo>
                    <a:pt x="1803" y="113821"/>
                    <a:pt x="1803" y="113977"/>
                    <a:pt x="1646" y="113977"/>
                  </a:cubicBezTo>
                  <a:cubicBezTo>
                    <a:pt x="-75" y="115386"/>
                    <a:pt x="-545" y="117890"/>
                    <a:pt x="707" y="119924"/>
                  </a:cubicBezTo>
                  <a:lnTo>
                    <a:pt x="22146" y="152635"/>
                  </a:lnTo>
                  <a:cubicBezTo>
                    <a:pt x="22772" y="153574"/>
                    <a:pt x="23711" y="154356"/>
                    <a:pt x="24963" y="154513"/>
                  </a:cubicBezTo>
                  <a:cubicBezTo>
                    <a:pt x="26058" y="154826"/>
                    <a:pt x="27310" y="154513"/>
                    <a:pt x="28249" y="153887"/>
                  </a:cubicBezTo>
                  <a:lnTo>
                    <a:pt x="60955" y="132445"/>
                  </a:lnTo>
                  <a:cubicBezTo>
                    <a:pt x="61111" y="132445"/>
                    <a:pt x="61111" y="132289"/>
                    <a:pt x="61268" y="132289"/>
                  </a:cubicBezTo>
                  <a:cubicBezTo>
                    <a:pt x="62989" y="130880"/>
                    <a:pt x="63458" y="128376"/>
                    <a:pt x="62206" y="126341"/>
                  </a:cubicBezTo>
                  <a:cubicBezTo>
                    <a:pt x="61580" y="125402"/>
                    <a:pt x="60642" y="124620"/>
                    <a:pt x="59390" y="124463"/>
                  </a:cubicBezTo>
                  <a:cubicBezTo>
                    <a:pt x="58294" y="124150"/>
                    <a:pt x="57042" y="124463"/>
                    <a:pt x="56103" y="125089"/>
                  </a:cubicBezTo>
                  <a:lnTo>
                    <a:pt x="30753" y="141679"/>
                  </a:lnTo>
                  <a:lnTo>
                    <a:pt x="34978" y="126498"/>
                  </a:lnTo>
                  <a:cubicBezTo>
                    <a:pt x="44210" y="93005"/>
                    <a:pt x="63615" y="63894"/>
                    <a:pt x="91000" y="42296"/>
                  </a:cubicBezTo>
                  <a:cubicBezTo>
                    <a:pt x="113847" y="24298"/>
                    <a:pt x="141232" y="12873"/>
                    <a:pt x="169869" y="8960"/>
                  </a:cubicBezTo>
                  <a:close/>
                </a:path>
              </a:pathLst>
            </a:custGeom>
            <a:solidFill>
              <a:schemeClr val="bg1"/>
            </a:solidFill>
            <a:ln w="1547" cap="flat">
              <a:solidFill>
                <a:schemeClr val="bg1"/>
              </a:solidFill>
              <a:prstDash val="solid"/>
              <a:miter/>
            </a:ln>
          </p:spPr>
          <p:txBody>
            <a:bodyPr rtlCol="0" anchor="ctr"/>
            <a:lstStyle/>
            <a:p>
              <a:endParaRPr lang="de-DE"/>
            </a:p>
          </p:txBody>
        </p:sp>
        <p:sp>
          <p:nvSpPr>
            <p:cNvPr id="228" name="Freihandform: Form 192">
              <a:extLst>
                <a:ext uri="{FF2B5EF4-FFF2-40B4-BE49-F238E27FC236}">
                  <a16:creationId xmlns:a16="http://schemas.microsoft.com/office/drawing/2014/main" id="{6B9F4CDA-0648-DBC5-67D1-0037E5D1A8AE}"/>
                </a:ext>
              </a:extLst>
            </p:cNvPr>
            <p:cNvSpPr/>
            <p:nvPr/>
          </p:nvSpPr>
          <p:spPr>
            <a:xfrm>
              <a:off x="6549316" y="2733389"/>
              <a:ext cx="154556" cy="173896"/>
            </a:xfrm>
            <a:custGeom>
              <a:avLst/>
              <a:gdLst>
                <a:gd name="connsiteX0" fmla="*/ 150621 w 154556"/>
                <a:gd name="connsiteY0" fmla="*/ 173858 h 173896"/>
                <a:gd name="connsiteX1" fmla="*/ 152812 w 154556"/>
                <a:gd name="connsiteY1" fmla="*/ 172919 h 173896"/>
                <a:gd name="connsiteX2" fmla="*/ 152812 w 154556"/>
                <a:gd name="connsiteY2" fmla="*/ 172919 h 173896"/>
                <a:gd name="connsiteX3" fmla="*/ 154533 w 154556"/>
                <a:gd name="connsiteY3" fmla="*/ 168849 h 173896"/>
                <a:gd name="connsiteX4" fmla="*/ 119324 w 154556"/>
                <a:gd name="connsiteY4" fmla="*/ 85587 h 173896"/>
                <a:gd name="connsiteX5" fmla="*/ 29814 w 154556"/>
                <a:gd name="connsiteY5" fmla="*/ 26270 h 173896"/>
                <a:gd name="connsiteX6" fmla="*/ 16982 w 154556"/>
                <a:gd name="connsiteY6" fmla="*/ 22827 h 173896"/>
                <a:gd name="connsiteX7" fmla="*/ 39516 w 154556"/>
                <a:gd name="connsiteY7" fmla="*/ 8116 h 173896"/>
                <a:gd name="connsiteX8" fmla="*/ 39829 w 154556"/>
                <a:gd name="connsiteY8" fmla="*/ 7959 h 173896"/>
                <a:gd name="connsiteX9" fmla="*/ 40768 w 154556"/>
                <a:gd name="connsiteY9" fmla="*/ 2012 h 173896"/>
                <a:gd name="connsiteX10" fmla="*/ 34665 w 154556"/>
                <a:gd name="connsiteY10" fmla="*/ 760 h 173896"/>
                <a:gd name="connsiteX11" fmla="*/ 1959 w 154556"/>
                <a:gd name="connsiteY11" fmla="*/ 22201 h 173896"/>
                <a:gd name="connsiteX12" fmla="*/ 1646 w 154556"/>
                <a:gd name="connsiteY12" fmla="*/ 22358 h 173896"/>
                <a:gd name="connsiteX13" fmla="*/ 707 w 154556"/>
                <a:gd name="connsiteY13" fmla="*/ 28305 h 173896"/>
                <a:gd name="connsiteX14" fmla="*/ 22146 w 154556"/>
                <a:gd name="connsiteY14" fmla="*/ 61015 h 173896"/>
                <a:gd name="connsiteX15" fmla="*/ 24963 w 154556"/>
                <a:gd name="connsiteY15" fmla="*/ 62893 h 173896"/>
                <a:gd name="connsiteX16" fmla="*/ 28249 w 154556"/>
                <a:gd name="connsiteY16" fmla="*/ 62267 h 173896"/>
                <a:gd name="connsiteX17" fmla="*/ 28562 w 154556"/>
                <a:gd name="connsiteY17" fmla="*/ 62111 h 173896"/>
                <a:gd name="connsiteX18" fmla="*/ 29501 w 154556"/>
                <a:gd name="connsiteY18" fmla="*/ 56164 h 173896"/>
                <a:gd name="connsiteX19" fmla="*/ 12913 w 154556"/>
                <a:gd name="connsiteY19" fmla="*/ 30809 h 173896"/>
                <a:gd name="connsiteX20" fmla="*/ 28092 w 154556"/>
                <a:gd name="connsiteY20" fmla="*/ 35035 h 173896"/>
                <a:gd name="connsiteX21" fmla="*/ 112282 w 154556"/>
                <a:gd name="connsiteY21" fmla="*/ 91065 h 173896"/>
                <a:gd name="connsiteX22" fmla="*/ 145614 w 154556"/>
                <a:gd name="connsiteY22" fmla="*/ 169945 h 173896"/>
                <a:gd name="connsiteX23" fmla="*/ 147335 w 154556"/>
                <a:gd name="connsiteY23" fmla="*/ 172919 h 173896"/>
                <a:gd name="connsiteX24" fmla="*/ 150621 w 154556"/>
                <a:gd name="connsiteY24" fmla="*/ 173858 h 17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4556" h="173896">
                  <a:moveTo>
                    <a:pt x="150621" y="173858"/>
                  </a:moveTo>
                  <a:cubicBezTo>
                    <a:pt x="151404" y="173701"/>
                    <a:pt x="152186" y="173388"/>
                    <a:pt x="152812" y="172919"/>
                  </a:cubicBezTo>
                  <a:lnTo>
                    <a:pt x="152812" y="172919"/>
                  </a:lnTo>
                  <a:cubicBezTo>
                    <a:pt x="154064" y="171980"/>
                    <a:pt x="154690" y="170414"/>
                    <a:pt x="154533" y="168849"/>
                  </a:cubicBezTo>
                  <a:cubicBezTo>
                    <a:pt x="150465" y="138487"/>
                    <a:pt x="138415" y="109689"/>
                    <a:pt x="119324" y="85587"/>
                  </a:cubicBezTo>
                  <a:cubicBezTo>
                    <a:pt x="96320" y="56477"/>
                    <a:pt x="65336" y="35974"/>
                    <a:pt x="29814" y="26270"/>
                  </a:cubicBezTo>
                  <a:lnTo>
                    <a:pt x="16982" y="22827"/>
                  </a:lnTo>
                  <a:lnTo>
                    <a:pt x="39516" y="8116"/>
                  </a:lnTo>
                  <a:cubicBezTo>
                    <a:pt x="39672" y="8116"/>
                    <a:pt x="39672" y="7959"/>
                    <a:pt x="39829" y="7959"/>
                  </a:cubicBezTo>
                  <a:cubicBezTo>
                    <a:pt x="41550" y="6550"/>
                    <a:pt x="42020" y="4046"/>
                    <a:pt x="40768" y="2012"/>
                  </a:cubicBezTo>
                  <a:cubicBezTo>
                    <a:pt x="39359" y="-23"/>
                    <a:pt x="36699" y="-649"/>
                    <a:pt x="34665" y="760"/>
                  </a:cubicBezTo>
                  <a:lnTo>
                    <a:pt x="1959" y="22201"/>
                  </a:lnTo>
                  <a:cubicBezTo>
                    <a:pt x="1803" y="22201"/>
                    <a:pt x="1803" y="22358"/>
                    <a:pt x="1646" y="22358"/>
                  </a:cubicBezTo>
                  <a:cubicBezTo>
                    <a:pt x="-75" y="23766"/>
                    <a:pt x="-545" y="26270"/>
                    <a:pt x="707" y="28305"/>
                  </a:cubicBezTo>
                  <a:lnTo>
                    <a:pt x="22146" y="61015"/>
                  </a:lnTo>
                  <a:cubicBezTo>
                    <a:pt x="22772" y="61954"/>
                    <a:pt x="23711" y="62737"/>
                    <a:pt x="24963" y="62893"/>
                  </a:cubicBezTo>
                  <a:cubicBezTo>
                    <a:pt x="26058" y="63206"/>
                    <a:pt x="27310" y="62893"/>
                    <a:pt x="28249" y="62267"/>
                  </a:cubicBezTo>
                  <a:cubicBezTo>
                    <a:pt x="28405" y="62267"/>
                    <a:pt x="28405" y="62111"/>
                    <a:pt x="28562" y="62111"/>
                  </a:cubicBezTo>
                  <a:cubicBezTo>
                    <a:pt x="30283" y="60702"/>
                    <a:pt x="30753" y="58198"/>
                    <a:pt x="29501" y="56164"/>
                  </a:cubicBezTo>
                  <a:lnTo>
                    <a:pt x="12913" y="30809"/>
                  </a:lnTo>
                  <a:lnTo>
                    <a:pt x="28092" y="35035"/>
                  </a:lnTo>
                  <a:cubicBezTo>
                    <a:pt x="61580" y="44269"/>
                    <a:pt x="90687" y="63676"/>
                    <a:pt x="112282" y="91065"/>
                  </a:cubicBezTo>
                  <a:cubicBezTo>
                    <a:pt x="130278" y="113915"/>
                    <a:pt x="141858" y="141304"/>
                    <a:pt x="145614" y="169945"/>
                  </a:cubicBezTo>
                  <a:cubicBezTo>
                    <a:pt x="145770" y="171041"/>
                    <a:pt x="146396" y="172136"/>
                    <a:pt x="147335" y="172919"/>
                  </a:cubicBezTo>
                  <a:cubicBezTo>
                    <a:pt x="148274" y="173701"/>
                    <a:pt x="149369" y="174014"/>
                    <a:pt x="150621" y="173858"/>
                  </a:cubicBezTo>
                  <a:close/>
                </a:path>
              </a:pathLst>
            </a:custGeom>
            <a:solidFill>
              <a:schemeClr val="bg1"/>
            </a:solidFill>
            <a:ln w="1547" cap="flat">
              <a:solidFill>
                <a:schemeClr val="bg1"/>
              </a:solidFill>
              <a:prstDash val="solid"/>
              <a:miter/>
            </a:ln>
          </p:spPr>
          <p:txBody>
            <a:bodyPr rtlCol="0" anchor="ctr"/>
            <a:lstStyle/>
            <a:p>
              <a:endParaRPr lang="de-DE"/>
            </a:p>
          </p:txBody>
        </p:sp>
      </p:grpSp>
      <p:pic>
        <p:nvPicPr>
          <p:cNvPr id="232" name="Grafik 231">
            <a:extLst>
              <a:ext uri="{FF2B5EF4-FFF2-40B4-BE49-F238E27FC236}">
                <a16:creationId xmlns:a16="http://schemas.microsoft.com/office/drawing/2014/main" id="{9B5F60C5-BE89-DD4A-800A-31A694914F7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06906" y="4259176"/>
            <a:ext cx="264167" cy="373990"/>
          </a:xfrm>
          <a:prstGeom prst="rect">
            <a:avLst/>
          </a:prstGeom>
        </p:spPr>
      </p:pic>
      <p:pic>
        <p:nvPicPr>
          <p:cNvPr id="233" name="Grafik 232">
            <a:extLst>
              <a:ext uri="{FF2B5EF4-FFF2-40B4-BE49-F238E27FC236}">
                <a16:creationId xmlns:a16="http://schemas.microsoft.com/office/drawing/2014/main" id="{4FC5700A-B19D-288E-7214-1F7A1FC4664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47609" y="4931791"/>
            <a:ext cx="301226" cy="228457"/>
          </a:xfrm>
          <a:prstGeom prst="rect">
            <a:avLst/>
          </a:prstGeom>
        </p:spPr>
      </p:pic>
      <p:pic>
        <p:nvPicPr>
          <p:cNvPr id="234" name="Grafik 233">
            <a:extLst>
              <a:ext uri="{FF2B5EF4-FFF2-40B4-BE49-F238E27FC236}">
                <a16:creationId xmlns:a16="http://schemas.microsoft.com/office/drawing/2014/main" id="{1E1712B6-3605-2AA1-88D3-6AC48B8366B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27241" y="2197086"/>
            <a:ext cx="276831" cy="266300"/>
          </a:xfrm>
          <a:prstGeom prst="rect">
            <a:avLst/>
          </a:prstGeom>
        </p:spPr>
      </p:pic>
      <p:grpSp>
        <p:nvGrpSpPr>
          <p:cNvPr id="235" name="Gruppieren 234">
            <a:extLst>
              <a:ext uri="{FF2B5EF4-FFF2-40B4-BE49-F238E27FC236}">
                <a16:creationId xmlns:a16="http://schemas.microsoft.com/office/drawing/2014/main" id="{3AB8CCA4-394D-9809-42C0-ACAF37C63740}"/>
              </a:ext>
            </a:extLst>
          </p:cNvPr>
          <p:cNvGrpSpPr/>
          <p:nvPr/>
        </p:nvGrpSpPr>
        <p:grpSpPr>
          <a:xfrm>
            <a:off x="6504564" y="3547562"/>
            <a:ext cx="382911" cy="241557"/>
            <a:chOff x="6444558" y="3458248"/>
            <a:chExt cx="490275" cy="309287"/>
          </a:xfrm>
        </p:grpSpPr>
        <p:sp>
          <p:nvSpPr>
            <p:cNvPr id="236" name="Freihandform: Form 211">
              <a:extLst>
                <a:ext uri="{FF2B5EF4-FFF2-40B4-BE49-F238E27FC236}">
                  <a16:creationId xmlns:a16="http://schemas.microsoft.com/office/drawing/2014/main" id="{47F5E6E6-E848-0399-0E50-D7B9EBFE1BF4}"/>
                </a:ext>
              </a:extLst>
            </p:cNvPr>
            <p:cNvSpPr/>
            <p:nvPr/>
          </p:nvSpPr>
          <p:spPr>
            <a:xfrm>
              <a:off x="6579716" y="3574236"/>
              <a:ext cx="220594" cy="193299"/>
            </a:xfrm>
            <a:custGeom>
              <a:avLst/>
              <a:gdLst>
                <a:gd name="connsiteX0" fmla="*/ 145515 w 312116"/>
                <a:gd name="connsiteY0" fmla="*/ 6087 h 273498"/>
                <a:gd name="connsiteX1" fmla="*/ 1657 w 312116"/>
                <a:gd name="connsiteY1" fmla="*/ 255230 h 273498"/>
                <a:gd name="connsiteX2" fmla="*/ 12200 w 312116"/>
                <a:gd name="connsiteY2" fmla="*/ 273499 h 273498"/>
                <a:gd name="connsiteX3" fmla="*/ 299917 w 312116"/>
                <a:gd name="connsiteY3" fmla="*/ 273499 h 273498"/>
                <a:gd name="connsiteX4" fmla="*/ 310460 w 312116"/>
                <a:gd name="connsiteY4" fmla="*/ 255230 h 273498"/>
                <a:gd name="connsiteX5" fmla="*/ 166601 w 312116"/>
                <a:gd name="connsiteY5" fmla="*/ 6087 h 273498"/>
                <a:gd name="connsiteX6" fmla="*/ 145515 w 312116"/>
                <a:gd name="connsiteY6" fmla="*/ 6087 h 27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16" h="273498">
                  <a:moveTo>
                    <a:pt x="145515" y="6087"/>
                  </a:moveTo>
                  <a:lnTo>
                    <a:pt x="1657" y="255230"/>
                  </a:lnTo>
                  <a:cubicBezTo>
                    <a:pt x="-3046" y="263346"/>
                    <a:pt x="2825" y="273499"/>
                    <a:pt x="12200" y="273499"/>
                  </a:cubicBezTo>
                  <a:lnTo>
                    <a:pt x="299917" y="273499"/>
                  </a:lnTo>
                  <a:cubicBezTo>
                    <a:pt x="309292" y="273499"/>
                    <a:pt x="315163" y="263346"/>
                    <a:pt x="310460" y="255230"/>
                  </a:cubicBezTo>
                  <a:lnTo>
                    <a:pt x="166601" y="6087"/>
                  </a:lnTo>
                  <a:cubicBezTo>
                    <a:pt x="161899" y="-2029"/>
                    <a:pt x="150188" y="-2029"/>
                    <a:pt x="145515" y="6087"/>
                  </a:cubicBezTo>
                  <a:close/>
                </a:path>
              </a:pathLst>
            </a:custGeom>
            <a:noFill/>
            <a:ln w="6350" cap="rnd">
              <a:solidFill>
                <a:schemeClr val="bg1"/>
              </a:solidFill>
              <a:prstDash val="solid"/>
              <a:round/>
            </a:ln>
          </p:spPr>
          <p:txBody>
            <a:bodyPr rtlCol="0" anchor="ctr"/>
            <a:lstStyle/>
            <a:p>
              <a:endParaRPr lang="de-DE"/>
            </a:p>
          </p:txBody>
        </p:sp>
        <p:sp>
          <p:nvSpPr>
            <p:cNvPr id="238" name="Freihandform: Form 212">
              <a:extLst>
                <a:ext uri="{FF2B5EF4-FFF2-40B4-BE49-F238E27FC236}">
                  <a16:creationId xmlns:a16="http://schemas.microsoft.com/office/drawing/2014/main" id="{F3C42725-D87A-DA0E-978F-ED1B679FBD0E}"/>
                </a:ext>
              </a:extLst>
            </p:cNvPr>
            <p:cNvSpPr/>
            <p:nvPr/>
          </p:nvSpPr>
          <p:spPr>
            <a:xfrm>
              <a:off x="6488951" y="3477194"/>
              <a:ext cx="55447" cy="55420"/>
            </a:xfrm>
            <a:custGeom>
              <a:avLst/>
              <a:gdLst>
                <a:gd name="connsiteX0" fmla="*/ 78201 w 78452"/>
                <a:gd name="connsiteY0" fmla="*/ 70466 h 78414"/>
                <a:gd name="connsiteX1" fmla="*/ 60590 w 78452"/>
                <a:gd name="connsiteY1" fmla="*/ 4699 h 78414"/>
                <a:gd name="connsiteX2" fmla="*/ 50017 w 78452"/>
                <a:gd name="connsiteY2" fmla="*/ 1854 h 78414"/>
                <a:gd name="connsiteX3" fmla="*/ 1854 w 78452"/>
                <a:gd name="connsiteY3" fmla="*/ 50011 h 78414"/>
                <a:gd name="connsiteX4" fmla="*/ 4699 w 78452"/>
                <a:gd name="connsiteY4" fmla="*/ 60583 h 78414"/>
                <a:gd name="connsiteX5" fmla="*/ 70474 w 78452"/>
                <a:gd name="connsiteY5" fmla="*/ 78193 h 78414"/>
                <a:gd name="connsiteX6" fmla="*/ 78231 w 78452"/>
                <a:gd name="connsiteY6" fmla="*/ 70436 h 7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452" h="78414">
                  <a:moveTo>
                    <a:pt x="78201" y="70466"/>
                  </a:moveTo>
                  <a:lnTo>
                    <a:pt x="60590" y="4699"/>
                  </a:lnTo>
                  <a:cubicBezTo>
                    <a:pt x="59332" y="-3"/>
                    <a:pt x="53461" y="-1590"/>
                    <a:pt x="50017" y="1854"/>
                  </a:cubicBezTo>
                  <a:lnTo>
                    <a:pt x="1854" y="50011"/>
                  </a:lnTo>
                  <a:cubicBezTo>
                    <a:pt x="-1591" y="53455"/>
                    <a:pt x="-3" y="59325"/>
                    <a:pt x="4699" y="60583"/>
                  </a:cubicBezTo>
                  <a:lnTo>
                    <a:pt x="70474" y="78193"/>
                  </a:lnTo>
                  <a:cubicBezTo>
                    <a:pt x="75176" y="79451"/>
                    <a:pt x="79489" y="75138"/>
                    <a:pt x="78231" y="70436"/>
                  </a:cubicBezTo>
                  <a:close/>
                </a:path>
              </a:pathLst>
            </a:custGeom>
            <a:solidFill>
              <a:schemeClr val="bg1"/>
            </a:solidFill>
            <a:ln w="6350" cap="flat">
              <a:solidFill>
                <a:schemeClr val="bg1"/>
              </a:solidFill>
              <a:prstDash val="solid"/>
              <a:miter/>
            </a:ln>
          </p:spPr>
          <p:txBody>
            <a:bodyPr rtlCol="0" anchor="ctr"/>
            <a:lstStyle/>
            <a:p>
              <a:endParaRPr lang="de-DE"/>
            </a:p>
          </p:txBody>
        </p:sp>
        <p:sp>
          <p:nvSpPr>
            <p:cNvPr id="239" name="Freihandform: Form 213">
              <a:extLst>
                <a:ext uri="{FF2B5EF4-FFF2-40B4-BE49-F238E27FC236}">
                  <a16:creationId xmlns:a16="http://schemas.microsoft.com/office/drawing/2014/main" id="{CF2933C8-4634-55C3-44A5-71F23272A5AB}"/>
                </a:ext>
              </a:extLst>
            </p:cNvPr>
            <p:cNvSpPr/>
            <p:nvPr/>
          </p:nvSpPr>
          <p:spPr>
            <a:xfrm>
              <a:off x="6678306" y="3631392"/>
              <a:ext cx="21211" cy="106257"/>
            </a:xfrm>
            <a:custGeom>
              <a:avLst/>
              <a:gdLst>
                <a:gd name="connsiteX0" fmla="*/ 4074 w 30011"/>
                <a:gd name="connsiteY0" fmla="*/ 84994 h 150342"/>
                <a:gd name="connsiteX1" fmla="*/ 899 w 30011"/>
                <a:gd name="connsiteY1" fmla="*/ 37436 h 150342"/>
                <a:gd name="connsiteX2" fmla="*/ 0 w 30011"/>
                <a:gd name="connsiteY2" fmla="*/ 17460 h 150342"/>
                <a:gd name="connsiteX3" fmla="*/ 4313 w 30011"/>
                <a:gd name="connsiteY3" fmla="*/ 4612 h 150342"/>
                <a:gd name="connsiteX4" fmla="*/ 15695 w 30011"/>
                <a:gd name="connsiteY4" fmla="*/ 0 h 150342"/>
                <a:gd name="connsiteX5" fmla="*/ 27106 w 30011"/>
                <a:gd name="connsiteY5" fmla="*/ 5900 h 150342"/>
                <a:gd name="connsiteX6" fmla="*/ 29982 w 30011"/>
                <a:gd name="connsiteY6" fmla="*/ 22941 h 150342"/>
                <a:gd name="connsiteX7" fmla="*/ 29293 w 30011"/>
                <a:gd name="connsiteY7" fmla="*/ 36238 h 150342"/>
                <a:gd name="connsiteX8" fmla="*/ 25010 w 30011"/>
                <a:gd name="connsiteY8" fmla="*/ 85204 h 150342"/>
                <a:gd name="connsiteX9" fmla="*/ 22045 w 30011"/>
                <a:gd name="connsiteY9" fmla="*/ 98621 h 150342"/>
                <a:gd name="connsiteX10" fmla="*/ 14497 w 30011"/>
                <a:gd name="connsiteY10" fmla="*/ 103293 h 150342"/>
                <a:gd name="connsiteX11" fmla="*/ 7039 w 30011"/>
                <a:gd name="connsiteY11" fmla="*/ 98771 h 150342"/>
                <a:gd name="connsiteX12" fmla="*/ 4074 w 30011"/>
                <a:gd name="connsiteY12" fmla="*/ 85024 h 150342"/>
                <a:gd name="connsiteX13" fmla="*/ 15096 w 30011"/>
                <a:gd name="connsiteY13" fmla="*/ 150342 h 150342"/>
                <a:gd name="connsiteX14" fmla="*/ 4523 w 30011"/>
                <a:gd name="connsiteY14" fmla="*/ 146419 h 150342"/>
                <a:gd name="connsiteX15" fmla="*/ 0 w 30011"/>
                <a:gd name="connsiteY15" fmla="*/ 135428 h 150342"/>
                <a:gd name="connsiteX16" fmla="*/ 4313 w 30011"/>
                <a:gd name="connsiteY16" fmla="*/ 124946 h 150342"/>
                <a:gd name="connsiteX17" fmla="*/ 14886 w 30011"/>
                <a:gd name="connsiteY17" fmla="*/ 120633 h 150342"/>
                <a:gd name="connsiteX18" fmla="*/ 25579 w 30011"/>
                <a:gd name="connsiteY18" fmla="*/ 124946 h 150342"/>
                <a:gd name="connsiteX19" fmla="*/ 30012 w 30011"/>
                <a:gd name="connsiteY19" fmla="*/ 135428 h 150342"/>
                <a:gd name="connsiteX20" fmla="*/ 25549 w 30011"/>
                <a:gd name="connsiteY20" fmla="*/ 146359 h 150342"/>
                <a:gd name="connsiteX21" fmla="*/ 15126 w 30011"/>
                <a:gd name="connsiteY21" fmla="*/ 150342 h 15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1" h="150342">
                  <a:moveTo>
                    <a:pt x="4074" y="84994"/>
                  </a:moveTo>
                  <a:lnTo>
                    <a:pt x="899" y="37436"/>
                  </a:lnTo>
                  <a:cubicBezTo>
                    <a:pt x="300" y="28182"/>
                    <a:pt x="0" y="21503"/>
                    <a:pt x="0" y="17460"/>
                  </a:cubicBezTo>
                  <a:cubicBezTo>
                    <a:pt x="0" y="11979"/>
                    <a:pt x="1438" y="7667"/>
                    <a:pt x="4313" y="4612"/>
                  </a:cubicBezTo>
                  <a:cubicBezTo>
                    <a:pt x="7188" y="1527"/>
                    <a:pt x="10992" y="0"/>
                    <a:pt x="15695" y="0"/>
                  </a:cubicBezTo>
                  <a:cubicBezTo>
                    <a:pt x="21386" y="0"/>
                    <a:pt x="25190" y="1977"/>
                    <a:pt x="27106" y="5900"/>
                  </a:cubicBezTo>
                  <a:cubicBezTo>
                    <a:pt x="29023" y="9853"/>
                    <a:pt x="29982" y="15513"/>
                    <a:pt x="29982" y="22941"/>
                  </a:cubicBezTo>
                  <a:cubicBezTo>
                    <a:pt x="29982" y="27313"/>
                    <a:pt x="29742" y="31746"/>
                    <a:pt x="29293" y="36238"/>
                  </a:cubicBezTo>
                  <a:lnTo>
                    <a:pt x="25010" y="85204"/>
                  </a:lnTo>
                  <a:cubicBezTo>
                    <a:pt x="24531" y="91044"/>
                    <a:pt x="23542" y="95506"/>
                    <a:pt x="22045" y="98621"/>
                  </a:cubicBezTo>
                  <a:cubicBezTo>
                    <a:pt x="20517" y="101736"/>
                    <a:pt x="18001" y="103293"/>
                    <a:pt x="14497" y="103293"/>
                  </a:cubicBezTo>
                  <a:cubicBezTo>
                    <a:pt x="10992" y="103293"/>
                    <a:pt x="8446" y="101796"/>
                    <a:pt x="7039" y="98771"/>
                  </a:cubicBezTo>
                  <a:cubicBezTo>
                    <a:pt x="5661" y="95746"/>
                    <a:pt x="4643" y="91164"/>
                    <a:pt x="4074" y="85024"/>
                  </a:cubicBezTo>
                  <a:close/>
                  <a:moveTo>
                    <a:pt x="15096" y="150342"/>
                  </a:moveTo>
                  <a:cubicBezTo>
                    <a:pt x="11052" y="150342"/>
                    <a:pt x="7518" y="149025"/>
                    <a:pt x="4523" y="146419"/>
                  </a:cubicBezTo>
                  <a:cubicBezTo>
                    <a:pt x="1498" y="143814"/>
                    <a:pt x="0" y="140160"/>
                    <a:pt x="0" y="135428"/>
                  </a:cubicBezTo>
                  <a:cubicBezTo>
                    <a:pt x="0" y="131325"/>
                    <a:pt x="1438" y="127821"/>
                    <a:pt x="4313" y="124946"/>
                  </a:cubicBezTo>
                  <a:cubicBezTo>
                    <a:pt x="7188" y="122071"/>
                    <a:pt x="10723" y="120633"/>
                    <a:pt x="14886" y="120633"/>
                  </a:cubicBezTo>
                  <a:cubicBezTo>
                    <a:pt x="19049" y="120633"/>
                    <a:pt x="22614" y="122071"/>
                    <a:pt x="25579" y="124946"/>
                  </a:cubicBezTo>
                  <a:cubicBezTo>
                    <a:pt x="28514" y="127821"/>
                    <a:pt x="30012" y="131325"/>
                    <a:pt x="30012" y="135428"/>
                  </a:cubicBezTo>
                  <a:cubicBezTo>
                    <a:pt x="30012" y="140070"/>
                    <a:pt x="28514" y="143694"/>
                    <a:pt x="25549" y="146359"/>
                  </a:cubicBezTo>
                  <a:cubicBezTo>
                    <a:pt x="22584" y="149025"/>
                    <a:pt x="19079" y="150342"/>
                    <a:pt x="15126" y="150342"/>
                  </a:cubicBezTo>
                  <a:close/>
                </a:path>
              </a:pathLst>
            </a:custGeom>
            <a:solidFill>
              <a:schemeClr val="bg1"/>
            </a:solidFill>
            <a:ln w="6350" cap="flat">
              <a:solidFill>
                <a:schemeClr val="bg1"/>
              </a:solidFill>
              <a:prstDash val="solid"/>
              <a:miter/>
            </a:ln>
          </p:spPr>
          <p:txBody>
            <a:bodyPr rtlCol="0" anchor="ctr"/>
            <a:lstStyle/>
            <a:p>
              <a:endParaRPr lang="de-DE"/>
            </a:p>
          </p:txBody>
        </p:sp>
        <p:sp>
          <p:nvSpPr>
            <p:cNvPr id="240" name="Freihandform: Form 215">
              <a:extLst>
                <a:ext uri="{FF2B5EF4-FFF2-40B4-BE49-F238E27FC236}">
                  <a16:creationId xmlns:a16="http://schemas.microsoft.com/office/drawing/2014/main" id="{03C75474-ED81-01F8-1DC3-48247A893C3F}"/>
                </a:ext>
              </a:extLst>
            </p:cNvPr>
            <p:cNvSpPr/>
            <p:nvPr/>
          </p:nvSpPr>
          <p:spPr>
            <a:xfrm>
              <a:off x="6444558" y="3496814"/>
              <a:ext cx="146468" cy="206545"/>
            </a:xfrm>
            <a:custGeom>
              <a:avLst/>
              <a:gdLst>
                <a:gd name="connsiteX0" fmla="*/ 160033 w 207236"/>
                <a:gd name="connsiteY0" fmla="*/ 0 h 292239"/>
                <a:gd name="connsiteX1" fmla="*/ 0 w 207236"/>
                <a:gd name="connsiteY1" fmla="*/ 292239 h 292239"/>
                <a:gd name="connsiteX2" fmla="*/ 94229 w 207236"/>
                <a:gd name="connsiteY2" fmla="*/ 292239 h 292239"/>
                <a:gd name="connsiteX3" fmla="*/ 207237 w 207236"/>
                <a:gd name="connsiteY3" fmla="*/ 81760 h 292239"/>
                <a:gd name="connsiteX4" fmla="*/ 160033 w 207236"/>
                <a:gd name="connsiteY4" fmla="*/ 0 h 292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236" h="292239">
                  <a:moveTo>
                    <a:pt x="160033" y="0"/>
                  </a:moveTo>
                  <a:cubicBezTo>
                    <a:pt x="63798" y="61634"/>
                    <a:pt x="0" y="169480"/>
                    <a:pt x="0" y="292239"/>
                  </a:cubicBezTo>
                  <a:lnTo>
                    <a:pt x="94229" y="292239"/>
                  </a:lnTo>
                  <a:cubicBezTo>
                    <a:pt x="94229" y="204370"/>
                    <a:pt x="139126" y="127012"/>
                    <a:pt x="207237" y="81760"/>
                  </a:cubicBezTo>
                  <a:lnTo>
                    <a:pt x="160033" y="0"/>
                  </a:lnTo>
                  <a:close/>
                </a:path>
              </a:pathLst>
            </a:custGeom>
            <a:noFill/>
            <a:ln w="6350" cap="rnd">
              <a:solidFill>
                <a:schemeClr val="bg1"/>
              </a:solidFill>
              <a:prstDash val="solid"/>
              <a:round/>
            </a:ln>
          </p:spPr>
          <p:txBody>
            <a:bodyPr rtlCol="0" anchor="ctr"/>
            <a:lstStyle/>
            <a:p>
              <a:endParaRPr lang="de-DE"/>
            </a:p>
          </p:txBody>
        </p:sp>
        <p:sp>
          <p:nvSpPr>
            <p:cNvPr id="241" name="Freihandform: Form 216">
              <a:extLst>
                <a:ext uri="{FF2B5EF4-FFF2-40B4-BE49-F238E27FC236}">
                  <a16:creationId xmlns:a16="http://schemas.microsoft.com/office/drawing/2014/main" id="{9C319CC8-1125-940D-7EF7-C240EF535616}"/>
                </a:ext>
              </a:extLst>
            </p:cNvPr>
            <p:cNvSpPr/>
            <p:nvPr/>
          </p:nvSpPr>
          <p:spPr>
            <a:xfrm>
              <a:off x="6578515" y="3458248"/>
              <a:ext cx="220623" cy="84434"/>
            </a:xfrm>
            <a:custGeom>
              <a:avLst/>
              <a:gdLst>
                <a:gd name="connsiteX0" fmla="*/ 47204 w 312158"/>
                <a:gd name="connsiteY0" fmla="*/ 119465 h 119465"/>
                <a:gd name="connsiteX1" fmla="*/ 157337 w 312158"/>
                <a:gd name="connsiteY1" fmla="*/ 94249 h 119465"/>
                <a:gd name="connsiteX2" fmla="*/ 264894 w 312158"/>
                <a:gd name="connsiteY2" fmla="*/ 118267 h 119465"/>
                <a:gd name="connsiteX3" fmla="*/ 312158 w 312158"/>
                <a:gd name="connsiteY3" fmla="*/ 36418 h 119465"/>
                <a:gd name="connsiteX4" fmla="*/ 157337 w 312158"/>
                <a:gd name="connsiteY4" fmla="*/ 0 h 119465"/>
                <a:gd name="connsiteX5" fmla="*/ 0 w 312158"/>
                <a:gd name="connsiteY5" fmla="*/ 37675 h 119465"/>
                <a:gd name="connsiteX6" fmla="*/ 47234 w 312158"/>
                <a:gd name="connsiteY6" fmla="*/ 119465 h 11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58" h="119465">
                  <a:moveTo>
                    <a:pt x="47204" y="119465"/>
                  </a:moveTo>
                  <a:cubicBezTo>
                    <a:pt x="80481" y="103323"/>
                    <a:pt x="117861" y="94249"/>
                    <a:pt x="157337" y="94249"/>
                  </a:cubicBezTo>
                  <a:cubicBezTo>
                    <a:pt x="196814" y="94249"/>
                    <a:pt x="232247" y="102874"/>
                    <a:pt x="264894" y="118267"/>
                  </a:cubicBezTo>
                  <a:lnTo>
                    <a:pt x="312158" y="36418"/>
                  </a:lnTo>
                  <a:cubicBezTo>
                    <a:pt x="265553" y="13118"/>
                    <a:pt x="212988" y="0"/>
                    <a:pt x="157337" y="0"/>
                  </a:cubicBezTo>
                  <a:cubicBezTo>
                    <a:pt x="101687" y="0"/>
                    <a:pt x="47204" y="13597"/>
                    <a:pt x="0" y="37675"/>
                  </a:cubicBezTo>
                  <a:lnTo>
                    <a:pt x="47234" y="119465"/>
                  </a:lnTo>
                  <a:close/>
                </a:path>
              </a:pathLst>
            </a:custGeom>
            <a:noFill/>
            <a:ln w="6350" cap="rnd">
              <a:solidFill>
                <a:schemeClr val="bg1"/>
              </a:solidFill>
              <a:prstDash val="solid"/>
              <a:round/>
            </a:ln>
          </p:spPr>
          <p:txBody>
            <a:bodyPr rtlCol="0" anchor="ctr"/>
            <a:lstStyle/>
            <a:p>
              <a:endParaRPr lang="de-DE"/>
            </a:p>
          </p:txBody>
        </p:sp>
        <p:sp>
          <p:nvSpPr>
            <p:cNvPr id="242" name="Freihandform: Form 217">
              <a:extLst>
                <a:ext uri="{FF2B5EF4-FFF2-40B4-BE49-F238E27FC236}">
                  <a16:creationId xmlns:a16="http://schemas.microsoft.com/office/drawing/2014/main" id="{A776F38D-4554-FDE7-496A-D42F97C48C6E}"/>
                </a:ext>
              </a:extLst>
            </p:cNvPr>
            <p:cNvSpPr/>
            <p:nvPr/>
          </p:nvSpPr>
          <p:spPr>
            <a:xfrm>
              <a:off x="6786692" y="3495777"/>
              <a:ext cx="148141" cy="207603"/>
            </a:xfrm>
            <a:custGeom>
              <a:avLst/>
              <a:gdLst>
                <a:gd name="connsiteX0" fmla="*/ 47204 w 209603"/>
                <a:gd name="connsiteY0" fmla="*/ 0 h 293736"/>
                <a:gd name="connsiteX1" fmla="*/ 0 w 209603"/>
                <a:gd name="connsiteY1" fmla="*/ 81730 h 293736"/>
                <a:gd name="connsiteX2" fmla="*/ 115375 w 209603"/>
                <a:gd name="connsiteY2" fmla="*/ 293737 h 293736"/>
                <a:gd name="connsiteX3" fmla="*/ 209603 w 209603"/>
                <a:gd name="connsiteY3" fmla="*/ 293737 h 293736"/>
                <a:gd name="connsiteX4" fmla="*/ 47174 w 209603"/>
                <a:gd name="connsiteY4" fmla="*/ 0 h 29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03" h="293736">
                  <a:moveTo>
                    <a:pt x="47204" y="0"/>
                  </a:moveTo>
                  <a:lnTo>
                    <a:pt x="0" y="81730"/>
                  </a:lnTo>
                  <a:cubicBezTo>
                    <a:pt x="69428" y="126743"/>
                    <a:pt x="115375" y="204849"/>
                    <a:pt x="115375" y="293737"/>
                  </a:cubicBezTo>
                  <a:lnTo>
                    <a:pt x="209603" y="293737"/>
                  </a:lnTo>
                  <a:cubicBezTo>
                    <a:pt x="209603" y="169959"/>
                    <a:pt x="144757" y="61365"/>
                    <a:pt x="47174" y="0"/>
                  </a:cubicBezTo>
                  <a:close/>
                </a:path>
              </a:pathLst>
            </a:custGeom>
            <a:noFill/>
            <a:ln w="6350" cap="rnd">
              <a:solidFill>
                <a:schemeClr val="bg1"/>
              </a:solidFill>
              <a:prstDash val="solid"/>
              <a:round/>
            </a:ln>
          </p:spPr>
          <p:txBody>
            <a:bodyPr rtlCol="0" anchor="ctr"/>
            <a:lstStyle/>
            <a:p>
              <a:endParaRPr lang="de-DE"/>
            </a:p>
          </p:txBody>
        </p:sp>
      </p:grpSp>
    </p:spTree>
    <p:extLst>
      <p:ext uri="{BB962C8B-B14F-4D97-AF65-F5344CB8AC3E}">
        <p14:creationId xmlns:p14="http://schemas.microsoft.com/office/powerpoint/2010/main" val="424372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A886241-DCAE-6EC1-2EF1-447888935A24}"/>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6000"/>
                    </a14:imgEffect>
                  </a14:imgLayer>
                </a14:imgProps>
              </a:ext>
            </a:extLst>
          </a:blip>
          <a:srcRect t="7006" b="7006"/>
          <a:stretch/>
        </p:blipFill>
        <p:spPr>
          <a:xfrm>
            <a:off x="2219" y="1469291"/>
            <a:ext cx="12189781" cy="4623533"/>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Textplatzhalter 18">
            <a:extLst>
              <a:ext uri="{FF2B5EF4-FFF2-40B4-BE49-F238E27FC236}">
                <a16:creationId xmlns:a16="http://schemas.microsoft.com/office/drawing/2014/main" id="{F4B76C24-74C7-D214-0168-C441BD40D6FA}"/>
              </a:ext>
            </a:extLst>
          </p:cNvPr>
          <p:cNvSpPr>
            <a:spLocks noGrp="1"/>
          </p:cNvSpPr>
          <p:nvPr>
            <p:ph type="body" sz="quarter" idx="12"/>
          </p:nvPr>
        </p:nvSpPr>
        <p:spPr>
          <a:xfrm>
            <a:off x="623888" y="296863"/>
            <a:ext cx="9488833" cy="169277"/>
          </a:xfrm>
        </p:spPr>
        <p:txBody>
          <a:bodyPr/>
          <a:lstStyle/>
          <a:p>
            <a:r>
              <a:rPr lang="en-US"/>
              <a:t>Digitalization as the central key to sustainability and ESG</a:t>
            </a:r>
          </a:p>
        </p:txBody>
      </p:sp>
      <p:sp>
        <p:nvSpPr>
          <p:cNvPr id="18" name="Titel 17">
            <a:extLst>
              <a:ext uri="{FF2B5EF4-FFF2-40B4-BE49-F238E27FC236}">
                <a16:creationId xmlns:a16="http://schemas.microsoft.com/office/drawing/2014/main" id="{FE89A007-21AF-1075-383B-5A12CFEDE51D}"/>
              </a:ext>
            </a:extLst>
          </p:cNvPr>
          <p:cNvSpPr>
            <a:spLocks noGrp="1"/>
          </p:cNvSpPr>
          <p:nvPr>
            <p:ph type="title"/>
          </p:nvPr>
        </p:nvSpPr>
        <p:spPr>
          <a:xfrm>
            <a:off x="623888" y="620713"/>
            <a:ext cx="9488833" cy="738664"/>
          </a:xfrm>
        </p:spPr>
        <p:txBody>
          <a:bodyPr/>
          <a:lstStyle/>
          <a:p>
            <a:r>
              <a:rPr lang="en-US" b="1" dirty="0"/>
              <a:t>Focus on sustainability and ESG:</a:t>
            </a:r>
            <a:br>
              <a:rPr lang="en-US" dirty="0"/>
            </a:br>
            <a:r>
              <a:rPr lang="en-US" dirty="0"/>
              <a:t>We live our responsibility</a:t>
            </a:r>
            <a:br>
              <a:rPr lang="en-US" dirty="0"/>
            </a:br>
            <a:endParaRPr lang="en-US" dirty="0"/>
          </a:p>
        </p:txBody>
      </p:sp>
      <p:sp>
        <p:nvSpPr>
          <p:cNvPr id="2" name="Fußzeilenplatzhalter 1">
            <a:extLst>
              <a:ext uri="{FF2B5EF4-FFF2-40B4-BE49-F238E27FC236}">
                <a16:creationId xmlns:a16="http://schemas.microsoft.com/office/drawing/2014/main" id="{0126D3F2-B09B-F973-1A4C-AD3A8D0A87A4}"/>
              </a:ext>
            </a:extLst>
          </p:cNvPr>
          <p:cNvSpPr>
            <a:spLocks noGrp="1"/>
          </p:cNvSpPr>
          <p:nvPr>
            <p:ph type="ftr" sz="quarter" idx="10"/>
          </p:nvPr>
        </p:nvSpPr>
        <p:spPr>
          <a:xfrm>
            <a:off x="623888" y="6443762"/>
            <a:ext cx="4968501" cy="153888"/>
          </a:xfrm>
        </p:spPr>
        <p:txBody>
          <a:bodyPr/>
          <a:lstStyle/>
          <a:p>
            <a:r>
              <a:rPr lang="en-US" dirty="0"/>
              <a:t>© msg systems ag | 2026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48</a:t>
            </a:fld>
            <a:endParaRPr lang="de-DE"/>
          </a:p>
        </p:txBody>
      </p:sp>
      <p:sp>
        <p:nvSpPr>
          <p:cNvPr id="4" name="Textfeld 3">
            <a:extLst>
              <a:ext uri="{FF2B5EF4-FFF2-40B4-BE49-F238E27FC236}">
                <a16:creationId xmlns:a16="http://schemas.microsoft.com/office/drawing/2014/main" id="{FBC4EDA8-F556-EB8A-9B7D-FB7BFC65B563}"/>
              </a:ext>
            </a:extLst>
          </p:cNvPr>
          <p:cNvSpPr txBox="1"/>
          <p:nvPr/>
        </p:nvSpPr>
        <p:spPr>
          <a:xfrm>
            <a:off x="1047815" y="5057939"/>
            <a:ext cx="5679556" cy="646331"/>
          </a:xfrm>
          <a:prstGeom prst="rect">
            <a:avLst/>
          </a:prstGeom>
        </p:spPr>
        <p:txBody>
          <a:bodyPr vert="horz" wrap="square" lIns="0" tIns="0" rIns="0" bIns="0" rtlCol="0" anchor="t">
            <a:spAutoFit/>
          </a:bodyPr>
          <a:lstStyle/>
          <a:p>
            <a:pPr>
              <a:lnSpc>
                <a:spcPct val="100000"/>
              </a:lnSpc>
            </a:pPr>
            <a:r>
              <a:rPr lang="en-US" sz="1400">
                <a:solidFill>
                  <a:schemeClr val="bg1"/>
                </a:solidFill>
                <a:ea typeface="Calibri"/>
                <a:cs typeface="Calibri"/>
              </a:rPr>
              <a:t>At msg, we actively promote the careers of women through women's networks as well as trainings and coaching that are tailored to the needs of women. </a:t>
            </a:r>
          </a:p>
        </p:txBody>
      </p:sp>
      <p:sp>
        <p:nvSpPr>
          <p:cNvPr id="7" name="Textfeld 6">
            <a:extLst>
              <a:ext uri="{FF2B5EF4-FFF2-40B4-BE49-F238E27FC236}">
                <a16:creationId xmlns:a16="http://schemas.microsoft.com/office/drawing/2014/main" id="{989344CB-6213-C800-A77E-05F08EAEC642}"/>
              </a:ext>
            </a:extLst>
          </p:cNvPr>
          <p:cNvSpPr txBox="1"/>
          <p:nvPr/>
        </p:nvSpPr>
        <p:spPr>
          <a:xfrm>
            <a:off x="1047815" y="1911539"/>
            <a:ext cx="5799299" cy="430887"/>
          </a:xfrm>
          <a:prstGeom prst="rect">
            <a:avLst/>
          </a:prstGeom>
        </p:spPr>
        <p:txBody>
          <a:bodyPr vert="horz" wrap="square" lIns="0" tIns="0" rIns="0" bIns="0" rtlCol="0" anchor="t">
            <a:spAutoFit/>
          </a:bodyPr>
          <a:lstStyle/>
          <a:p>
            <a:r>
              <a:rPr lang="en-US" sz="1400">
                <a:solidFill>
                  <a:schemeClr val="bg1"/>
                </a:solidFill>
                <a:cs typeface="Calibri"/>
              </a:rPr>
              <a:t>As a signatory to the Charta der </a:t>
            </a:r>
            <a:r>
              <a:rPr lang="en-US" sz="1400" err="1">
                <a:solidFill>
                  <a:schemeClr val="bg1"/>
                </a:solidFill>
                <a:cs typeface="Calibri"/>
              </a:rPr>
              <a:t>Vielfalt</a:t>
            </a:r>
            <a:r>
              <a:rPr lang="en-US" sz="1400">
                <a:solidFill>
                  <a:schemeClr val="bg1"/>
                </a:solidFill>
                <a:cs typeface="Calibri"/>
              </a:rPr>
              <a:t> (Diversity Charter), we are committed to creating a respectful working environment for all employees.</a:t>
            </a:r>
          </a:p>
        </p:txBody>
      </p:sp>
      <p:sp>
        <p:nvSpPr>
          <p:cNvPr id="14" name="Textfeld 13">
            <a:extLst>
              <a:ext uri="{FF2B5EF4-FFF2-40B4-BE49-F238E27FC236}">
                <a16:creationId xmlns:a16="http://schemas.microsoft.com/office/drawing/2014/main" id="{1BE41F19-B2EF-FB51-D9B8-ED3142EA3394}"/>
              </a:ext>
            </a:extLst>
          </p:cNvPr>
          <p:cNvSpPr txBox="1"/>
          <p:nvPr/>
        </p:nvSpPr>
        <p:spPr>
          <a:xfrm>
            <a:off x="1047815" y="2550688"/>
            <a:ext cx="5573129" cy="430887"/>
          </a:xfrm>
          <a:prstGeom prst="rect">
            <a:avLst/>
          </a:prstGeom>
        </p:spPr>
        <p:txBody>
          <a:bodyPr vert="horz" wrap="square" lIns="0" tIns="0" rIns="0" bIns="0" rtlCol="0" anchor="t">
            <a:spAutoFit/>
          </a:bodyPr>
          <a:lstStyle/>
          <a:p>
            <a:r>
              <a:rPr lang="en-US" sz="1400">
                <a:solidFill>
                  <a:schemeClr val="bg1"/>
                </a:solidFill>
                <a:ea typeface="Calibri"/>
                <a:cs typeface="Calibri"/>
              </a:rPr>
              <a:t>We have been participating in the UN Global Compact since 2023 and are committed to public progress reporting. </a:t>
            </a:r>
          </a:p>
        </p:txBody>
      </p:sp>
      <p:sp>
        <p:nvSpPr>
          <p:cNvPr id="15" name="Textfeld 14">
            <a:extLst>
              <a:ext uri="{FF2B5EF4-FFF2-40B4-BE49-F238E27FC236}">
                <a16:creationId xmlns:a16="http://schemas.microsoft.com/office/drawing/2014/main" id="{0B9BB142-18FC-AB94-D04E-F44A0727BAC7}"/>
              </a:ext>
            </a:extLst>
          </p:cNvPr>
          <p:cNvSpPr txBox="1"/>
          <p:nvPr/>
        </p:nvSpPr>
        <p:spPr>
          <a:xfrm>
            <a:off x="1047815" y="3241989"/>
            <a:ext cx="5573129" cy="430887"/>
          </a:xfrm>
          <a:prstGeom prst="rect">
            <a:avLst/>
          </a:prstGeom>
        </p:spPr>
        <p:txBody>
          <a:bodyPr vert="horz" wrap="square" lIns="0" tIns="0" rIns="0" bIns="0" rtlCol="0" anchor="t">
            <a:spAutoFit/>
          </a:bodyPr>
          <a:lstStyle/>
          <a:p>
            <a:r>
              <a:rPr lang="en-US" sz="1400">
                <a:solidFill>
                  <a:schemeClr val="bg1"/>
                </a:solidFill>
                <a:ea typeface="Calibri"/>
                <a:cs typeface="Calibri"/>
              </a:rPr>
              <a:t>Target for msg in Germany: We aim to reduce our CO2 emissions by 50% by 2025 compared to 2019 and to become climate-neutral by 2030.</a:t>
            </a:r>
          </a:p>
        </p:txBody>
      </p:sp>
      <p:sp>
        <p:nvSpPr>
          <p:cNvPr id="16" name="Textfeld 15">
            <a:extLst>
              <a:ext uri="{FF2B5EF4-FFF2-40B4-BE49-F238E27FC236}">
                <a16:creationId xmlns:a16="http://schemas.microsoft.com/office/drawing/2014/main" id="{EBB1A003-AC75-696E-BE33-8B57C29948F1}"/>
              </a:ext>
            </a:extLst>
          </p:cNvPr>
          <p:cNvSpPr txBox="1"/>
          <p:nvPr/>
        </p:nvSpPr>
        <p:spPr>
          <a:xfrm>
            <a:off x="1047815" y="3901775"/>
            <a:ext cx="5877918" cy="430887"/>
          </a:xfrm>
          <a:prstGeom prst="rect">
            <a:avLst/>
          </a:prstGeom>
        </p:spPr>
        <p:txBody>
          <a:bodyPr vert="horz" wrap="square" lIns="0" tIns="0" rIns="0" bIns="0" rtlCol="0" anchor="t">
            <a:spAutoFit/>
          </a:bodyPr>
          <a:lstStyle/>
          <a:p>
            <a:pPr>
              <a:lnSpc>
                <a:spcPct val="100000"/>
              </a:lnSpc>
            </a:pPr>
            <a:r>
              <a:rPr lang="en-US" sz="1400">
                <a:solidFill>
                  <a:schemeClr val="bg1"/>
                </a:solidFill>
                <a:cs typeface="Calibri"/>
              </a:rPr>
              <a:t>Since October 2024: Feeding electricity from the PV system on the roof of our head office in </a:t>
            </a:r>
            <a:r>
              <a:rPr lang="en-US" sz="1400" err="1">
                <a:solidFill>
                  <a:schemeClr val="bg1"/>
                </a:solidFill>
                <a:cs typeface="Calibri"/>
              </a:rPr>
              <a:t>Ismaning</a:t>
            </a:r>
            <a:r>
              <a:rPr lang="en-US" sz="1400">
                <a:solidFill>
                  <a:schemeClr val="bg1"/>
                </a:solidFill>
                <a:cs typeface="Calibri"/>
              </a:rPr>
              <a:t> into the building grid, including 20 e-charging points. </a:t>
            </a:r>
          </a:p>
        </p:txBody>
      </p:sp>
      <p:sp>
        <p:nvSpPr>
          <p:cNvPr id="17" name="Textfeld 16">
            <a:extLst>
              <a:ext uri="{FF2B5EF4-FFF2-40B4-BE49-F238E27FC236}">
                <a16:creationId xmlns:a16="http://schemas.microsoft.com/office/drawing/2014/main" id="{4FDC1142-3E10-6619-112D-EF85438978C8}"/>
              </a:ext>
            </a:extLst>
          </p:cNvPr>
          <p:cNvSpPr txBox="1"/>
          <p:nvPr/>
        </p:nvSpPr>
        <p:spPr>
          <a:xfrm>
            <a:off x="1047815" y="4491557"/>
            <a:ext cx="5573129" cy="430887"/>
          </a:xfrm>
          <a:prstGeom prst="rect">
            <a:avLst/>
          </a:prstGeom>
        </p:spPr>
        <p:txBody>
          <a:bodyPr vert="horz" wrap="square" lIns="0" tIns="0" rIns="0" bIns="0" rtlCol="0" anchor="t">
            <a:spAutoFit/>
          </a:bodyPr>
          <a:lstStyle/>
          <a:p>
            <a:pPr>
              <a:lnSpc>
                <a:spcPct val="100000"/>
              </a:lnSpc>
            </a:pPr>
            <a:r>
              <a:rPr lang="en-US" sz="1400">
                <a:solidFill>
                  <a:schemeClr val="bg1"/>
                </a:solidFill>
                <a:cs typeface="Calibri"/>
              </a:rPr>
              <a:t>In 2025, we will be using 100% green electricity at all locations </a:t>
            </a:r>
            <a:br>
              <a:rPr lang="en-US" sz="1400">
                <a:solidFill>
                  <a:schemeClr val="bg1"/>
                </a:solidFill>
                <a:cs typeface="Calibri"/>
              </a:rPr>
            </a:br>
            <a:r>
              <a:rPr lang="en-US" sz="1400">
                <a:solidFill>
                  <a:schemeClr val="bg1"/>
                </a:solidFill>
                <a:cs typeface="Calibri"/>
              </a:rPr>
              <a:t>managed by us. </a:t>
            </a:r>
          </a:p>
        </p:txBody>
      </p:sp>
      <p:grpSp>
        <p:nvGrpSpPr>
          <p:cNvPr id="11" name="Gruppieren 10">
            <a:extLst>
              <a:ext uri="{FF2B5EF4-FFF2-40B4-BE49-F238E27FC236}">
                <a16:creationId xmlns:a16="http://schemas.microsoft.com/office/drawing/2014/main" id="{B1FB675A-11BF-26A0-D0F8-7DA1CDFED5B6}"/>
              </a:ext>
            </a:extLst>
          </p:cNvPr>
          <p:cNvGrpSpPr/>
          <p:nvPr/>
        </p:nvGrpSpPr>
        <p:grpSpPr>
          <a:xfrm>
            <a:off x="652109" y="1999612"/>
            <a:ext cx="192273" cy="234022"/>
            <a:chOff x="652109" y="2561515"/>
            <a:chExt cx="192273" cy="234022"/>
          </a:xfrm>
        </p:grpSpPr>
        <p:pic>
          <p:nvPicPr>
            <p:cNvPr id="20" name="Grafik 19">
              <a:extLst>
                <a:ext uri="{FF2B5EF4-FFF2-40B4-BE49-F238E27FC236}">
                  <a16:creationId xmlns:a16="http://schemas.microsoft.com/office/drawing/2014/main" id="{DC21A330-1533-9F58-DCAE-0C474619968E}"/>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21" name="Grafik 20">
              <a:extLst>
                <a:ext uri="{FF2B5EF4-FFF2-40B4-BE49-F238E27FC236}">
                  <a16:creationId xmlns:a16="http://schemas.microsoft.com/office/drawing/2014/main" id="{723610C8-3C27-1B54-A262-9DD1FC5A008D}"/>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22" name="Gruppieren 21">
            <a:extLst>
              <a:ext uri="{FF2B5EF4-FFF2-40B4-BE49-F238E27FC236}">
                <a16:creationId xmlns:a16="http://schemas.microsoft.com/office/drawing/2014/main" id="{73871916-8031-63E4-58FE-8713FF8A0C40}"/>
              </a:ext>
            </a:extLst>
          </p:cNvPr>
          <p:cNvGrpSpPr/>
          <p:nvPr/>
        </p:nvGrpSpPr>
        <p:grpSpPr>
          <a:xfrm>
            <a:off x="652109" y="2621961"/>
            <a:ext cx="192273" cy="234022"/>
            <a:chOff x="652109" y="2561515"/>
            <a:chExt cx="192273" cy="234022"/>
          </a:xfrm>
        </p:grpSpPr>
        <p:pic>
          <p:nvPicPr>
            <p:cNvPr id="23" name="Grafik 22">
              <a:extLst>
                <a:ext uri="{FF2B5EF4-FFF2-40B4-BE49-F238E27FC236}">
                  <a16:creationId xmlns:a16="http://schemas.microsoft.com/office/drawing/2014/main" id="{F28BF60C-FC16-8F62-37C8-62FC21B99CBB}"/>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24" name="Grafik 23">
              <a:extLst>
                <a:ext uri="{FF2B5EF4-FFF2-40B4-BE49-F238E27FC236}">
                  <a16:creationId xmlns:a16="http://schemas.microsoft.com/office/drawing/2014/main" id="{D2F9C467-AEBA-DC99-F998-5598EE6DB2EA}"/>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25" name="Gruppieren 24">
            <a:extLst>
              <a:ext uri="{FF2B5EF4-FFF2-40B4-BE49-F238E27FC236}">
                <a16:creationId xmlns:a16="http://schemas.microsoft.com/office/drawing/2014/main" id="{D725F295-1EDD-F6B2-538F-0DD3C4907A23}"/>
              </a:ext>
            </a:extLst>
          </p:cNvPr>
          <p:cNvGrpSpPr/>
          <p:nvPr/>
        </p:nvGrpSpPr>
        <p:grpSpPr>
          <a:xfrm>
            <a:off x="652109" y="3322096"/>
            <a:ext cx="192273" cy="234022"/>
            <a:chOff x="652109" y="2561515"/>
            <a:chExt cx="192273" cy="234022"/>
          </a:xfrm>
        </p:grpSpPr>
        <p:pic>
          <p:nvPicPr>
            <p:cNvPr id="26" name="Grafik 25">
              <a:extLst>
                <a:ext uri="{FF2B5EF4-FFF2-40B4-BE49-F238E27FC236}">
                  <a16:creationId xmlns:a16="http://schemas.microsoft.com/office/drawing/2014/main" id="{1F6474F4-9548-7D3B-E5CD-A1E646AAB659}"/>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27" name="Grafik 26">
              <a:extLst>
                <a:ext uri="{FF2B5EF4-FFF2-40B4-BE49-F238E27FC236}">
                  <a16:creationId xmlns:a16="http://schemas.microsoft.com/office/drawing/2014/main" id="{5282B060-2C2D-0758-999C-0298DDA8A7DB}"/>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28" name="Gruppieren 27">
            <a:extLst>
              <a:ext uri="{FF2B5EF4-FFF2-40B4-BE49-F238E27FC236}">
                <a16:creationId xmlns:a16="http://schemas.microsoft.com/office/drawing/2014/main" id="{03A4FC61-0500-39EA-62D2-071A2C59D0DF}"/>
              </a:ext>
            </a:extLst>
          </p:cNvPr>
          <p:cNvGrpSpPr/>
          <p:nvPr/>
        </p:nvGrpSpPr>
        <p:grpSpPr>
          <a:xfrm>
            <a:off x="652109" y="4016249"/>
            <a:ext cx="192273" cy="234022"/>
            <a:chOff x="652109" y="2561515"/>
            <a:chExt cx="192273" cy="234022"/>
          </a:xfrm>
        </p:grpSpPr>
        <p:pic>
          <p:nvPicPr>
            <p:cNvPr id="29" name="Grafik 28">
              <a:extLst>
                <a:ext uri="{FF2B5EF4-FFF2-40B4-BE49-F238E27FC236}">
                  <a16:creationId xmlns:a16="http://schemas.microsoft.com/office/drawing/2014/main" id="{2DFC19A7-07B7-1CF5-3A9B-D05F6361DE48}"/>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30" name="Grafik 29">
              <a:extLst>
                <a:ext uri="{FF2B5EF4-FFF2-40B4-BE49-F238E27FC236}">
                  <a16:creationId xmlns:a16="http://schemas.microsoft.com/office/drawing/2014/main" id="{D87764E4-3412-332C-5BDD-CBA7A5B0B948}"/>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31" name="Gruppieren 30">
            <a:extLst>
              <a:ext uri="{FF2B5EF4-FFF2-40B4-BE49-F238E27FC236}">
                <a16:creationId xmlns:a16="http://schemas.microsoft.com/office/drawing/2014/main" id="{3FBF76E9-3966-3269-4E3D-C512C4BC1A77}"/>
              </a:ext>
            </a:extLst>
          </p:cNvPr>
          <p:cNvGrpSpPr/>
          <p:nvPr/>
        </p:nvGrpSpPr>
        <p:grpSpPr>
          <a:xfrm>
            <a:off x="652109" y="4602680"/>
            <a:ext cx="192273" cy="234022"/>
            <a:chOff x="652109" y="2561515"/>
            <a:chExt cx="192273" cy="234022"/>
          </a:xfrm>
        </p:grpSpPr>
        <p:pic>
          <p:nvPicPr>
            <p:cNvPr id="32" name="Grafik 31">
              <a:extLst>
                <a:ext uri="{FF2B5EF4-FFF2-40B4-BE49-F238E27FC236}">
                  <a16:creationId xmlns:a16="http://schemas.microsoft.com/office/drawing/2014/main" id="{C44E95C9-5950-7258-4140-5A953BCAF2AC}"/>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33" name="Grafik 32">
              <a:extLst>
                <a:ext uri="{FF2B5EF4-FFF2-40B4-BE49-F238E27FC236}">
                  <a16:creationId xmlns:a16="http://schemas.microsoft.com/office/drawing/2014/main" id="{C16479F7-A3EE-7266-6F8D-BE4BAB5F59B6}"/>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34" name="Gruppieren 33">
            <a:extLst>
              <a:ext uri="{FF2B5EF4-FFF2-40B4-BE49-F238E27FC236}">
                <a16:creationId xmlns:a16="http://schemas.microsoft.com/office/drawing/2014/main" id="{554C9547-C47C-D526-1C75-FE27CF0A466F}"/>
              </a:ext>
            </a:extLst>
          </p:cNvPr>
          <p:cNvGrpSpPr/>
          <p:nvPr/>
        </p:nvGrpSpPr>
        <p:grpSpPr>
          <a:xfrm>
            <a:off x="652109" y="5236934"/>
            <a:ext cx="192273" cy="234022"/>
            <a:chOff x="652109" y="2561515"/>
            <a:chExt cx="192273" cy="234022"/>
          </a:xfrm>
        </p:grpSpPr>
        <p:pic>
          <p:nvPicPr>
            <p:cNvPr id="35" name="Grafik 34">
              <a:extLst>
                <a:ext uri="{FF2B5EF4-FFF2-40B4-BE49-F238E27FC236}">
                  <a16:creationId xmlns:a16="http://schemas.microsoft.com/office/drawing/2014/main" id="{9A0B82E7-2C87-33D2-9749-60F16D5B9983}"/>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36" name="Grafik 35">
              <a:extLst>
                <a:ext uri="{FF2B5EF4-FFF2-40B4-BE49-F238E27FC236}">
                  <a16:creationId xmlns:a16="http://schemas.microsoft.com/office/drawing/2014/main" id="{3F7177BD-350B-C394-4783-0707DE5B742C}"/>
                </a:ext>
              </a:extLst>
            </p:cNvPr>
            <p:cNvPicPr>
              <a:picLocks noChangeAspect="1"/>
            </p:cNvPicPr>
            <p:nvPr/>
          </p:nvPicPr>
          <p:blipFill>
            <a:blip r:embed="rId8"/>
            <a:stretch>
              <a:fillRect/>
            </a:stretch>
          </p:blipFill>
          <p:spPr>
            <a:xfrm>
              <a:off x="724028" y="2561515"/>
              <a:ext cx="120354" cy="234022"/>
            </a:xfrm>
            <a:prstGeom prst="rect">
              <a:avLst/>
            </a:prstGeom>
          </p:spPr>
        </p:pic>
      </p:grpSp>
    </p:spTree>
    <p:extLst>
      <p:ext uri="{BB962C8B-B14F-4D97-AF65-F5344CB8AC3E}">
        <p14:creationId xmlns:p14="http://schemas.microsoft.com/office/powerpoint/2010/main" val="65736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C1C5C9A0-3B47-288E-6D95-F80F9C8E7F31}"/>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bwMode="gray">
          <a:xfrm>
            <a:off x="10704521" y="296864"/>
            <a:ext cx="1152942" cy="360000"/>
          </a:xfrm>
          <a:prstGeom prst="rect">
            <a:avLst/>
          </a:prstGeom>
        </p:spPr>
      </p:pic>
      <p:pic>
        <p:nvPicPr>
          <p:cNvPr id="3" name="Grafik 2">
            <a:extLst>
              <a:ext uri="{FF2B5EF4-FFF2-40B4-BE49-F238E27FC236}">
                <a16:creationId xmlns:a16="http://schemas.microsoft.com/office/drawing/2014/main" id="{57425706-F9AD-3A6E-94C9-2B03B3C8DE77}"/>
              </a:ext>
            </a:extLst>
          </p:cNvPr>
          <p:cNvPicPr>
            <a:picLocks noChangeAspect="1"/>
          </p:cNvPicPr>
          <p:nvPr/>
        </p:nvPicPr>
        <p:blipFill>
          <a:blip r:embed="rId3"/>
          <a:srcRect/>
          <a:stretch/>
        </p:blipFill>
        <p:spPr>
          <a:xfrm>
            <a:off x="0" y="0"/>
            <a:ext cx="12192000" cy="6858000"/>
          </a:xfrm>
          <a:prstGeom prst="rect">
            <a:avLst/>
          </a:prstGeom>
        </p:spPr>
      </p:pic>
      <p:sp>
        <p:nvSpPr>
          <p:cNvPr id="8" name="Textfeld 7">
            <a:extLst>
              <a:ext uri="{FF2B5EF4-FFF2-40B4-BE49-F238E27FC236}">
                <a16:creationId xmlns:a16="http://schemas.microsoft.com/office/drawing/2014/main" id="{BA2D9E7E-38F6-6DFF-1A83-92F3AA17F2C5}"/>
              </a:ext>
            </a:extLst>
          </p:cNvPr>
          <p:cNvSpPr txBox="1"/>
          <p:nvPr/>
        </p:nvSpPr>
        <p:spPr>
          <a:xfrm>
            <a:off x="647449" y="2819183"/>
            <a:ext cx="8188503" cy="2505429"/>
          </a:xfrm>
          <a:prstGeom prst="rect">
            <a:avLst/>
          </a:prstGeom>
        </p:spPr>
        <p:txBody>
          <a:bodyPr vert="horz" wrap="square" lIns="0" tIns="0" rIns="0" bIns="0" rtlCol="0">
            <a:spAutoFit/>
          </a:bodyPr>
          <a:lstStyle/>
          <a:p>
            <a:pPr algn="l">
              <a:lnSpc>
                <a:spcPts val="6500"/>
              </a:lnSpc>
            </a:pPr>
            <a:r>
              <a:rPr lang="de-DE" sz="6000" dirty="0" err="1">
                <a:solidFill>
                  <a:schemeClr val="bg1"/>
                </a:solidFill>
                <a:latin typeface="Aptos Bold" panose="020B0004020202020204" pitchFamily="34" charset="0"/>
              </a:rPr>
              <a:t>Let’s</a:t>
            </a:r>
            <a:r>
              <a:rPr lang="de-DE" sz="6000" dirty="0">
                <a:solidFill>
                  <a:schemeClr val="bg1"/>
                </a:solidFill>
                <a:latin typeface="Aptos Bold" panose="020B0004020202020204" pitchFamily="34" charset="0"/>
              </a:rPr>
              <a:t> </a:t>
            </a:r>
            <a:r>
              <a:rPr lang="de-DE" sz="6000" dirty="0" err="1">
                <a:solidFill>
                  <a:schemeClr val="bg1"/>
                </a:solidFill>
                <a:latin typeface="Aptos Bold" panose="020B0004020202020204" pitchFamily="34" charset="0"/>
              </a:rPr>
              <a:t>shape</a:t>
            </a:r>
            <a:endParaRPr lang="de-DE" sz="6000" dirty="0">
              <a:solidFill>
                <a:schemeClr val="bg1"/>
              </a:solidFill>
              <a:latin typeface="Aptos Bold" panose="020B0004020202020204" pitchFamily="34" charset="0"/>
            </a:endParaRPr>
          </a:p>
          <a:p>
            <a:pPr algn="l">
              <a:lnSpc>
                <a:spcPts val="6500"/>
              </a:lnSpc>
            </a:pPr>
            <a:r>
              <a:rPr lang="de-DE" sz="6000" dirty="0" err="1">
                <a:solidFill>
                  <a:schemeClr val="bg1"/>
                </a:solidFill>
                <a:latin typeface="Aptos Bold" panose="020B0004020202020204" pitchFamily="34" charset="0"/>
              </a:rPr>
              <a:t>the</a:t>
            </a:r>
            <a:r>
              <a:rPr lang="de-DE" sz="6000" dirty="0">
                <a:solidFill>
                  <a:schemeClr val="bg1"/>
                </a:solidFill>
                <a:latin typeface="Aptos Bold" panose="020B0004020202020204" pitchFamily="34" charset="0"/>
              </a:rPr>
              <a:t> digital </a:t>
            </a:r>
            <a:r>
              <a:rPr lang="de-DE" sz="6000" dirty="0" err="1">
                <a:solidFill>
                  <a:schemeClr val="bg1"/>
                </a:solidFill>
                <a:latin typeface="Aptos Bold" panose="020B0004020202020204" pitchFamily="34" charset="0"/>
              </a:rPr>
              <a:t>future</a:t>
            </a:r>
            <a:endParaRPr lang="de-DE" sz="6000" dirty="0">
              <a:solidFill>
                <a:schemeClr val="bg1"/>
              </a:solidFill>
              <a:latin typeface="Aptos Bold" panose="020B0004020202020204" pitchFamily="34" charset="0"/>
            </a:endParaRPr>
          </a:p>
          <a:p>
            <a:pPr algn="l">
              <a:lnSpc>
                <a:spcPts val="6500"/>
              </a:lnSpc>
            </a:pPr>
            <a:r>
              <a:rPr lang="de-DE" sz="6000" dirty="0" err="1">
                <a:solidFill>
                  <a:schemeClr val="bg1"/>
                </a:solidFill>
                <a:latin typeface="Aptos Bold" panose="020B0004020202020204" pitchFamily="34" charset="0"/>
              </a:rPr>
              <a:t>together</a:t>
            </a:r>
            <a:endParaRPr lang="de-DE" sz="6000" dirty="0">
              <a:solidFill>
                <a:schemeClr val="bg1"/>
              </a:solidFill>
              <a:latin typeface="Aptos Bold" panose="020B0004020202020204" pitchFamily="34" charset="0"/>
            </a:endParaRPr>
          </a:p>
        </p:txBody>
      </p:sp>
      <p:pic>
        <p:nvPicPr>
          <p:cNvPr id="9" name="Grafik 8">
            <a:extLst>
              <a:ext uri="{FF2B5EF4-FFF2-40B4-BE49-F238E27FC236}">
                <a16:creationId xmlns:a16="http://schemas.microsoft.com/office/drawing/2014/main" id="{0DE20B52-B163-F3DF-C697-BAECD4DA4F39}"/>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396142" y="387922"/>
            <a:ext cx="2382162" cy="2382162"/>
          </a:xfrm>
          <a:prstGeom prst="rect">
            <a:avLst/>
          </a:prstGeom>
        </p:spPr>
      </p:pic>
      <p:sp>
        <p:nvSpPr>
          <p:cNvPr id="10" name="Fußzeilenplatzhalter 1">
            <a:extLst>
              <a:ext uri="{FF2B5EF4-FFF2-40B4-BE49-F238E27FC236}">
                <a16:creationId xmlns:a16="http://schemas.microsoft.com/office/drawing/2014/main" id="{CBA1F1EC-13E6-A9A3-A585-FB7753025AF9}"/>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11" name="Foliennummernplatzhalter 4">
            <a:extLst>
              <a:ext uri="{FF2B5EF4-FFF2-40B4-BE49-F238E27FC236}">
                <a16:creationId xmlns:a16="http://schemas.microsoft.com/office/drawing/2014/main" id="{AD651E4A-4360-1EF2-BA39-91A886F60C90}"/>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49</a:t>
            </a:fld>
            <a:endParaRPr lang="de-DE">
              <a:solidFill>
                <a:schemeClr val="bg1"/>
              </a:solidFill>
            </a:endParaRPr>
          </a:p>
        </p:txBody>
      </p:sp>
    </p:spTree>
    <p:extLst>
      <p:ext uri="{BB962C8B-B14F-4D97-AF65-F5344CB8AC3E}">
        <p14:creationId xmlns:p14="http://schemas.microsoft.com/office/powerpoint/2010/main" val="3204791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822EE7CE-D961-9EE4-28F4-280549FC05CA}"/>
              </a:ext>
            </a:extLst>
          </p:cNvPr>
          <p:cNvPicPr>
            <a:picLocks noChangeAspect="1"/>
          </p:cNvPicPr>
          <p:nvPr/>
        </p:nvPicPr>
        <p:blipFill>
          <a:blip r:embed="rId4"/>
          <a:srcRect/>
          <a:stretch/>
        </p:blipFill>
        <p:spPr>
          <a:xfrm>
            <a:off x="0" y="2854"/>
            <a:ext cx="12192000" cy="6858000"/>
          </a:xfrm>
          <a:prstGeom prst="rect">
            <a:avLst/>
          </a:prstGeom>
        </p:spPr>
      </p:pic>
      <p:sp>
        <p:nvSpPr>
          <p:cNvPr id="5" name="Rechteck 4">
            <a:extLst>
              <a:ext uri="{FF2B5EF4-FFF2-40B4-BE49-F238E27FC236}">
                <a16:creationId xmlns:a16="http://schemas.microsoft.com/office/drawing/2014/main" id="{9CE764AA-6144-0B40-4AFD-60B544706017}"/>
              </a:ext>
            </a:extLst>
          </p:cNvPr>
          <p:cNvSpPr/>
          <p:nvPr/>
        </p:nvSpPr>
        <p:spPr>
          <a:xfrm rot="10800000">
            <a:off x="0" y="0"/>
            <a:ext cx="12192000" cy="3374571"/>
          </a:xfrm>
          <a:prstGeom prst="rect">
            <a:avLst/>
          </a:prstGeom>
          <a:gradFill flip="none" rotWithShape="1">
            <a:gsLst>
              <a:gs pos="0">
                <a:schemeClr val="tx1">
                  <a:alpha val="10000"/>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2" name="Diagonal liegende Ecken des Rechtecks abrunden 11">
            <a:extLst>
              <a:ext uri="{FF2B5EF4-FFF2-40B4-BE49-F238E27FC236}">
                <a16:creationId xmlns:a16="http://schemas.microsoft.com/office/drawing/2014/main" id="{026C0110-1D3D-3121-9AB0-54FE818F1FCE}"/>
              </a:ext>
            </a:extLst>
          </p:cNvPr>
          <p:cNvSpPr/>
          <p:nvPr/>
        </p:nvSpPr>
        <p:spPr>
          <a:xfrm flipV="1">
            <a:off x="623888" y="4190997"/>
            <a:ext cx="7850266"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95DFC2A6-F53F-D33D-D216-341E3510F42E}"/>
              </a:ext>
            </a:extLst>
          </p:cNvPr>
          <p:cNvSpPr txBox="1">
            <a:spLocks/>
          </p:cNvSpPr>
          <p:nvPr/>
        </p:nvSpPr>
        <p:spPr>
          <a:xfrm>
            <a:off x="1239311" y="4926002"/>
            <a:ext cx="723484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en-US" sz="4300">
                <a:solidFill>
                  <a:schemeClr val="tx1"/>
                </a:solidFill>
                <a:latin typeface="+mn-lt"/>
              </a:rPr>
              <a:t>The msg group at a glance</a:t>
            </a:r>
          </a:p>
        </p:txBody>
      </p:sp>
      <p:sp>
        <p:nvSpPr>
          <p:cNvPr id="9" name="Untertitel 2">
            <a:extLst>
              <a:ext uri="{FF2B5EF4-FFF2-40B4-BE49-F238E27FC236}">
                <a16:creationId xmlns:a16="http://schemas.microsoft.com/office/drawing/2014/main" id="{B9D0BCFA-AC84-9E09-2A85-00CED588E40C}"/>
              </a:ext>
            </a:extLst>
          </p:cNvPr>
          <p:cNvSpPr txBox="1">
            <a:spLocks/>
          </p:cNvSpPr>
          <p:nvPr/>
        </p:nvSpPr>
        <p:spPr>
          <a:xfrm>
            <a:off x="1266179" y="4527022"/>
            <a:ext cx="7207975"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u="none" strike="noStrike" kern="1200" cap="none" spc="0" normalizeH="0" baseline="0" noProof="0">
                <a:ln>
                  <a:noFill/>
                </a:ln>
                <a:effectLst/>
                <a:uLnTx/>
                <a:uFillTx/>
                <a:cs typeface="Calibri Light"/>
              </a:rPr>
              <a:t>Industry know-how and IT expertise from a single source</a:t>
            </a:r>
          </a:p>
        </p:txBody>
      </p:sp>
      <p:sp>
        <p:nvSpPr>
          <p:cNvPr id="13" name="Ellipse 13">
            <a:extLst>
              <a:ext uri="{FF2B5EF4-FFF2-40B4-BE49-F238E27FC236}">
                <a16:creationId xmlns:a16="http://schemas.microsoft.com/office/drawing/2014/main" id="{A25F31B6-9A14-A7CF-F908-E636D680E9FB}"/>
              </a:ext>
            </a:extLst>
          </p:cNvPr>
          <p:cNvSpPr/>
          <p:nvPr/>
        </p:nvSpPr>
        <p:spPr>
          <a:xfrm>
            <a:off x="790713" y="450544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1</a:t>
            </a:r>
          </a:p>
        </p:txBody>
      </p:sp>
      <p:pic>
        <p:nvPicPr>
          <p:cNvPr id="6" name="Grafik 5">
            <a:extLst>
              <a:ext uri="{FF2B5EF4-FFF2-40B4-BE49-F238E27FC236}">
                <a16:creationId xmlns:a16="http://schemas.microsoft.com/office/drawing/2014/main" id="{913E97D5-BCFB-E76F-9769-9D0F99AD29DF}"/>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
        <p:nvSpPr>
          <p:cNvPr id="4" name="Fußzeilenplatzhalter 1">
            <a:extLst>
              <a:ext uri="{FF2B5EF4-FFF2-40B4-BE49-F238E27FC236}">
                <a16:creationId xmlns:a16="http://schemas.microsoft.com/office/drawing/2014/main" id="{0127B20C-B141-AE2A-D954-B5453E58F6E4}"/>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15" name="Foliennummernplatzhalter 14">
            <a:extLst>
              <a:ext uri="{FF2B5EF4-FFF2-40B4-BE49-F238E27FC236}">
                <a16:creationId xmlns:a16="http://schemas.microsoft.com/office/drawing/2014/main" id="{09F842B7-DFBA-AB94-A14E-536EE2A97BB4}"/>
              </a:ext>
            </a:extLst>
          </p:cNvPr>
          <p:cNvSpPr>
            <a:spLocks noGrp="1"/>
          </p:cNvSpPr>
          <p:nvPr>
            <p:ph type="sldNum" sz="quarter" idx="11"/>
          </p:nvPr>
        </p:nvSpPr>
        <p:spPr>
          <a:xfrm>
            <a:off x="11425418" y="6443762"/>
            <a:ext cx="431620" cy="153888"/>
          </a:xfrm>
        </p:spPr>
        <p:txBody>
          <a:bodyPr/>
          <a:lstStyle/>
          <a:p>
            <a:fld id="{1FBD72F1-A42A-46B0-A7F8-CE6A9835826C}" type="slidenum">
              <a:rPr lang="de-DE" smtClean="0">
                <a:solidFill>
                  <a:schemeClr val="bg1"/>
                </a:solidFill>
              </a:rPr>
              <a:pPr/>
              <a:t>5</a:t>
            </a:fld>
            <a:endParaRPr lang="de-DE">
              <a:solidFill>
                <a:schemeClr val="bg1"/>
              </a:solidFill>
            </a:endParaRPr>
          </a:p>
        </p:txBody>
      </p:sp>
    </p:spTree>
    <p:extLst>
      <p:ext uri="{BB962C8B-B14F-4D97-AF65-F5344CB8AC3E}">
        <p14:creationId xmlns:p14="http://schemas.microsoft.com/office/powerpoint/2010/main" val="183747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Grün, Farbigkeit, gelb, Wasser enthält.&#10;&#10;Automatisch generierte Beschreibung">
            <a:extLst>
              <a:ext uri="{FF2B5EF4-FFF2-40B4-BE49-F238E27FC236}">
                <a16:creationId xmlns:a16="http://schemas.microsoft.com/office/drawing/2014/main" id="{BC152F2A-384B-035E-9476-78D063F877E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11"/>
            <a:ext cx="6858002" cy="12236817"/>
          </a:xfrm>
          <a:prstGeom prst="rect">
            <a:avLst/>
          </a:prstGeom>
        </p:spPr>
      </p:pic>
      <p:sp>
        <p:nvSpPr>
          <p:cNvPr id="8" name="Rechteck 7">
            <a:extLst>
              <a:ext uri="{FF2B5EF4-FFF2-40B4-BE49-F238E27FC236}">
                <a16:creationId xmlns:a16="http://schemas.microsoft.com/office/drawing/2014/main" id="{A22798E5-EABE-3430-0671-55F820DF7BE5}"/>
              </a:ext>
            </a:extLst>
          </p:cNvPr>
          <p:cNvSpPr/>
          <p:nvPr/>
        </p:nvSpPr>
        <p:spPr>
          <a:xfrm>
            <a:off x="0" y="2721429"/>
            <a:ext cx="12242800" cy="4136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7D402871-D09E-673B-5CD2-EF2030EE88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7D402871-D09E-673B-5CD2-EF2030EE88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itel 1">
            <a:extLst>
              <a:ext uri="{FF2B5EF4-FFF2-40B4-BE49-F238E27FC236}">
                <a16:creationId xmlns:a16="http://schemas.microsoft.com/office/drawing/2014/main" id="{2A2B3586-8499-A25B-3E64-3CBCE1E71826}"/>
              </a:ext>
            </a:extLst>
          </p:cNvPr>
          <p:cNvSpPr txBox="1">
            <a:spLocks/>
          </p:cNvSpPr>
          <p:nvPr/>
        </p:nvSpPr>
        <p:spPr>
          <a:xfrm>
            <a:off x="658813" y="2868838"/>
            <a:ext cx="5351696" cy="640405"/>
          </a:xfrm>
          <a:prstGeom prst="rect">
            <a:avLst/>
          </a:prstGeom>
        </p:spPr>
        <p:txBody>
          <a:bodyPr lIns="0" tIns="0" rIns="0" bIns="0" anchor="t"/>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bg1"/>
                </a:solidFill>
                <a:latin typeface="+mn-lt"/>
              </a:rPr>
              <a:t>Contact</a:t>
            </a:r>
          </a:p>
        </p:txBody>
      </p:sp>
      <p:sp>
        <p:nvSpPr>
          <p:cNvPr id="24" name="Untertitel 2">
            <a:extLst>
              <a:ext uri="{FF2B5EF4-FFF2-40B4-BE49-F238E27FC236}">
                <a16:creationId xmlns:a16="http://schemas.microsoft.com/office/drawing/2014/main" id="{6A7BBADF-3459-12C3-88BB-C9E22B750595}"/>
              </a:ext>
            </a:extLst>
          </p:cNvPr>
          <p:cNvSpPr txBox="1">
            <a:spLocks/>
          </p:cNvSpPr>
          <p:nvPr/>
        </p:nvSpPr>
        <p:spPr>
          <a:xfrm>
            <a:off x="2218209" y="5514841"/>
            <a:ext cx="2239988" cy="646331"/>
          </a:xfrm>
          <a:prstGeom prst="rect">
            <a:avLst/>
          </a:prstGeom>
        </p:spPr>
        <p:txBody>
          <a:bodyPr lIns="0" tIns="0" rIns="0" bIns="0">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msg </a:t>
            </a:r>
            <a:r>
              <a:rPr lang="de-DE" err="1">
                <a:solidFill>
                  <a:schemeClr val="bg1"/>
                </a:solidFill>
              </a:rPr>
              <a:t>systems</a:t>
            </a:r>
            <a:r>
              <a:rPr lang="de-DE">
                <a:solidFill>
                  <a:schemeClr val="bg1"/>
                </a:solidFill>
              </a:rPr>
              <a:t> </a:t>
            </a:r>
            <a:r>
              <a:rPr lang="de-DE" err="1">
                <a:solidFill>
                  <a:schemeClr val="bg1"/>
                </a:solidFill>
              </a:rPr>
              <a:t>ag</a:t>
            </a:r>
            <a:endParaRPr lang="de-DE">
              <a:solidFill>
                <a:schemeClr val="bg1"/>
              </a:solidFill>
            </a:endParaRPr>
          </a:p>
          <a:p>
            <a:pPr>
              <a:spcAft>
                <a:spcPts val="0"/>
              </a:spcAft>
            </a:pPr>
            <a:r>
              <a:rPr lang="de-DE">
                <a:solidFill>
                  <a:schemeClr val="bg1"/>
                </a:solidFill>
              </a:rPr>
              <a:t>Robert-​Bürkle-Straße 1</a:t>
            </a:r>
          </a:p>
          <a:p>
            <a:pPr>
              <a:spcAft>
                <a:spcPts val="0"/>
              </a:spcAft>
            </a:pPr>
            <a:r>
              <a:rPr lang="de-DE">
                <a:solidFill>
                  <a:schemeClr val="bg1"/>
                </a:solidFill>
              </a:rPr>
              <a:t>85737 Ismaning/Germany</a:t>
            </a:r>
          </a:p>
        </p:txBody>
      </p:sp>
      <p:sp>
        <p:nvSpPr>
          <p:cNvPr id="6" name="Untertitel 2">
            <a:extLst>
              <a:ext uri="{FF2B5EF4-FFF2-40B4-BE49-F238E27FC236}">
                <a16:creationId xmlns:a16="http://schemas.microsoft.com/office/drawing/2014/main" id="{428DD793-9677-5915-F077-41AFD7671B32}"/>
              </a:ext>
            </a:extLst>
          </p:cNvPr>
          <p:cNvSpPr txBox="1">
            <a:spLocks/>
          </p:cNvSpPr>
          <p:nvPr/>
        </p:nvSpPr>
        <p:spPr>
          <a:xfrm>
            <a:off x="4352208" y="5514841"/>
            <a:ext cx="1816364" cy="646331"/>
          </a:xfrm>
          <a:prstGeom prst="rect">
            <a:avLst/>
          </a:prstGeom>
        </p:spPr>
        <p:txBody>
          <a:bodyPr lIns="0" tIns="0" rIns="0" bIns="0" anchor="t">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49 89 96101-0</a:t>
            </a:r>
          </a:p>
          <a:p>
            <a:pPr>
              <a:spcAft>
                <a:spcPts val="0"/>
              </a:spcAft>
            </a:pPr>
            <a:r>
              <a:rPr lang="de-DE">
                <a:solidFill>
                  <a:schemeClr val="bg1"/>
                </a:solidFill>
              </a:rPr>
              <a:t>+49 89 96101-​1113</a:t>
            </a:r>
            <a:endParaRPr lang="de-DE">
              <a:solidFill>
                <a:schemeClr val="bg1"/>
              </a:solidFill>
              <a:cs typeface="Calibri"/>
            </a:endParaRPr>
          </a:p>
          <a:p>
            <a:pPr>
              <a:spcAft>
                <a:spcPts val="0"/>
              </a:spcAft>
            </a:pPr>
            <a:r>
              <a:rPr lang="de-DE" err="1">
                <a:solidFill>
                  <a:schemeClr val="bg1"/>
                </a:solidFill>
              </a:rPr>
              <a:t>info@msg.group</a:t>
            </a:r>
            <a:endParaRPr lang="de-DE">
              <a:solidFill>
                <a:schemeClr val="bg1"/>
              </a:solidFill>
              <a:cs typeface="Calibri"/>
            </a:endParaRPr>
          </a:p>
        </p:txBody>
      </p:sp>
      <p:cxnSp>
        <p:nvCxnSpPr>
          <p:cNvPr id="9" name="Gerader Verbinder 8">
            <a:extLst>
              <a:ext uri="{FF2B5EF4-FFF2-40B4-BE49-F238E27FC236}">
                <a16:creationId xmlns:a16="http://schemas.microsoft.com/office/drawing/2014/main" id="{B6CC6271-A501-2E4B-EF59-BAE859EA8AD7}"/>
              </a:ext>
            </a:extLst>
          </p:cNvPr>
          <p:cNvCxnSpPr>
            <a:cxnSpLocks/>
          </p:cNvCxnSpPr>
          <p:nvPr/>
        </p:nvCxnSpPr>
        <p:spPr>
          <a:xfrm>
            <a:off x="2218209" y="5367929"/>
            <a:ext cx="602740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Grafik 17">
            <a:extLst>
              <a:ext uri="{FF2B5EF4-FFF2-40B4-BE49-F238E27FC236}">
                <a16:creationId xmlns:a16="http://schemas.microsoft.com/office/drawing/2014/main" id="{002802AB-5C80-68A9-883B-A72547D36DAB}"/>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t="48461" r="83384"/>
          <a:stretch/>
        </p:blipFill>
        <p:spPr>
          <a:xfrm>
            <a:off x="6275773" y="5419305"/>
            <a:ext cx="327309" cy="349294"/>
          </a:xfrm>
          <a:prstGeom prst="rect">
            <a:avLst/>
          </a:prstGeom>
        </p:spPr>
      </p:pic>
      <p:pic>
        <p:nvPicPr>
          <p:cNvPr id="15" name="Grafik 14">
            <a:extLst>
              <a:ext uri="{FF2B5EF4-FFF2-40B4-BE49-F238E27FC236}">
                <a16:creationId xmlns:a16="http://schemas.microsoft.com/office/drawing/2014/main" id="{B82C33AE-51DF-0E86-2361-AF32F1B6676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71509" y="5779485"/>
            <a:ext cx="476250" cy="476250"/>
          </a:xfrm>
          <a:prstGeom prst="rect">
            <a:avLst/>
          </a:prstGeom>
        </p:spPr>
      </p:pic>
      <p:sp>
        <p:nvSpPr>
          <p:cNvPr id="4" name="Fußzeilenplatzhalter 1">
            <a:extLst>
              <a:ext uri="{FF2B5EF4-FFF2-40B4-BE49-F238E27FC236}">
                <a16:creationId xmlns:a16="http://schemas.microsoft.com/office/drawing/2014/main" id="{4B4B6154-3DDA-7389-ABC6-44D8A415C496}"/>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10" name="Foliennummernplatzhalter 9">
            <a:extLst>
              <a:ext uri="{FF2B5EF4-FFF2-40B4-BE49-F238E27FC236}">
                <a16:creationId xmlns:a16="http://schemas.microsoft.com/office/drawing/2014/main" id="{FC2688C5-5887-0487-BEF1-1B2BFB4A6749}"/>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50</a:t>
            </a:fld>
            <a:endParaRPr lang="de-DE">
              <a:solidFill>
                <a:schemeClr val="bg1"/>
              </a:solidFill>
            </a:endParaRPr>
          </a:p>
        </p:txBody>
      </p:sp>
      <p:pic>
        <p:nvPicPr>
          <p:cNvPr id="3" name="Grafik 2">
            <a:extLst>
              <a:ext uri="{FF2B5EF4-FFF2-40B4-BE49-F238E27FC236}">
                <a16:creationId xmlns:a16="http://schemas.microsoft.com/office/drawing/2014/main" id="{CB678C1F-F409-E2D7-FA3F-E1D07A7CF5E2}"/>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18884" t="48461" r="61132"/>
          <a:stretch/>
        </p:blipFill>
        <p:spPr>
          <a:xfrm>
            <a:off x="6647758" y="5430191"/>
            <a:ext cx="393643" cy="349294"/>
          </a:xfrm>
          <a:prstGeom prst="rect">
            <a:avLst/>
          </a:prstGeom>
        </p:spPr>
      </p:pic>
      <p:pic>
        <p:nvPicPr>
          <p:cNvPr id="14" name="Grafik 13">
            <a:extLst>
              <a:ext uri="{FF2B5EF4-FFF2-40B4-BE49-F238E27FC236}">
                <a16:creationId xmlns:a16="http://schemas.microsoft.com/office/drawing/2014/main" id="{C6991268-7851-7CB5-DA1C-3868E133B03E}"/>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41136" t="48461" r="40603"/>
          <a:stretch/>
        </p:blipFill>
        <p:spPr>
          <a:xfrm>
            <a:off x="7086077" y="5430191"/>
            <a:ext cx="359701" cy="349294"/>
          </a:xfrm>
          <a:prstGeom prst="rect">
            <a:avLst/>
          </a:prstGeom>
        </p:spPr>
      </p:pic>
      <p:pic>
        <p:nvPicPr>
          <p:cNvPr id="16" name="Grafik 15">
            <a:extLst>
              <a:ext uri="{FF2B5EF4-FFF2-40B4-BE49-F238E27FC236}">
                <a16:creationId xmlns:a16="http://schemas.microsoft.com/office/drawing/2014/main" id="{66048ADE-DA89-A097-0820-6A36334E5198}"/>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61664" t="48461" r="18145"/>
          <a:stretch/>
        </p:blipFill>
        <p:spPr>
          <a:xfrm>
            <a:off x="7490454" y="5430191"/>
            <a:ext cx="397723" cy="349294"/>
          </a:xfrm>
          <a:prstGeom prst="rect">
            <a:avLst/>
          </a:prstGeom>
        </p:spPr>
      </p:pic>
      <p:pic>
        <p:nvPicPr>
          <p:cNvPr id="17" name="Grafik 16">
            <a:extLst>
              <a:ext uri="{FF2B5EF4-FFF2-40B4-BE49-F238E27FC236}">
                <a16:creationId xmlns:a16="http://schemas.microsoft.com/office/drawing/2014/main" id="{D97D1E85-D36C-5F20-F1A0-2B54FF1E06D1}"/>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83895" t="48461"/>
          <a:stretch/>
        </p:blipFill>
        <p:spPr>
          <a:xfrm>
            <a:off x="7928374" y="5430191"/>
            <a:ext cx="317238" cy="349294"/>
          </a:xfrm>
          <a:prstGeom prst="rect">
            <a:avLst/>
          </a:prstGeom>
        </p:spPr>
      </p:pic>
      <p:pic>
        <p:nvPicPr>
          <p:cNvPr id="20" name="Grafik 19">
            <a:extLst>
              <a:ext uri="{FF2B5EF4-FFF2-40B4-BE49-F238E27FC236}">
                <a16:creationId xmlns:a16="http://schemas.microsoft.com/office/drawing/2014/main" id="{1FDFA39A-E88B-FCEB-FC5D-80D49B698E7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bwMode="gray">
          <a:xfrm>
            <a:off x="10704521" y="296864"/>
            <a:ext cx="1152942" cy="360000"/>
          </a:xfrm>
          <a:prstGeom prst="rect">
            <a:avLst/>
          </a:prstGeom>
        </p:spPr>
      </p:pic>
      <p:pic>
        <p:nvPicPr>
          <p:cNvPr id="12" name="Grafik 11">
            <a:extLst>
              <a:ext uri="{FF2B5EF4-FFF2-40B4-BE49-F238E27FC236}">
                <a16:creationId xmlns:a16="http://schemas.microsoft.com/office/drawing/2014/main" id="{8864F97B-E27C-15DC-E71F-06047BB3A135}"/>
              </a:ext>
            </a:extLst>
          </p:cNvPr>
          <p:cNvPicPr>
            <a:picLocks noChangeAspect="1"/>
          </p:cNvPicPr>
          <p:nvPr/>
        </p:nvPicPr>
        <p:blipFill>
          <a:blip r:embed="rId10"/>
          <a:srcRect l="18140" t="72" r="17039" b="35107"/>
          <a:stretch>
            <a:fillRect/>
          </a:stretch>
        </p:blipFill>
        <p:spPr>
          <a:xfrm>
            <a:off x="662992" y="3821724"/>
            <a:ext cx="1170000" cy="1170000"/>
          </a:xfrm>
          <a:prstGeom prst="ellipse">
            <a:avLst/>
          </a:prstGeom>
        </p:spPr>
      </p:pic>
      <p:sp>
        <p:nvSpPr>
          <p:cNvPr id="13" name="Textplatzhalter 5">
            <a:extLst>
              <a:ext uri="{FF2B5EF4-FFF2-40B4-BE49-F238E27FC236}">
                <a16:creationId xmlns:a16="http://schemas.microsoft.com/office/drawing/2014/main" id="{759F58A0-09A2-62F3-5226-C78BF306F382}"/>
              </a:ext>
            </a:extLst>
          </p:cNvPr>
          <p:cNvSpPr txBox="1">
            <a:spLocks/>
          </p:cNvSpPr>
          <p:nvPr/>
        </p:nvSpPr>
        <p:spPr>
          <a:xfrm>
            <a:off x="2225145" y="3826595"/>
            <a:ext cx="4050628" cy="640405"/>
          </a:xfrm>
          <a:prstGeom prst="rect">
            <a:avLst/>
          </a:prstGeom>
        </p:spPr>
        <p:txBody>
          <a:bodyPr lIns="0" tIns="0" rIns="0" bIns="0"/>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sz="2200" dirty="0">
                <a:solidFill>
                  <a:schemeClr val="bg1"/>
                </a:solidFill>
              </a:rPr>
              <a:t>Maximilian Niermann</a:t>
            </a:r>
          </a:p>
          <a:p>
            <a:pPr>
              <a:spcAft>
                <a:spcPts val="0"/>
              </a:spcAft>
            </a:pPr>
            <a:r>
              <a:rPr lang="de-DE" sz="1400" dirty="0">
                <a:solidFill>
                  <a:schemeClr val="bg1"/>
                </a:solidFill>
              </a:rPr>
              <a:t>Head </a:t>
            </a:r>
            <a:r>
              <a:rPr lang="de-DE" sz="1400" dirty="0" err="1">
                <a:solidFill>
                  <a:schemeClr val="bg1"/>
                </a:solidFill>
              </a:rPr>
              <a:t>of</a:t>
            </a:r>
            <a:r>
              <a:rPr lang="de-DE" sz="1400" dirty="0">
                <a:solidFill>
                  <a:schemeClr val="bg1"/>
                </a:solidFill>
              </a:rPr>
              <a:t> Marketing Communications</a:t>
            </a:r>
          </a:p>
          <a:p>
            <a:pPr>
              <a:spcAft>
                <a:spcPts val="0"/>
              </a:spcAft>
            </a:pPr>
            <a:endParaRPr lang="de-DE" sz="1400" dirty="0">
              <a:solidFill>
                <a:schemeClr val="bg1"/>
              </a:solidFill>
            </a:endParaRPr>
          </a:p>
          <a:p>
            <a:pPr>
              <a:spcAft>
                <a:spcPts val="0"/>
              </a:spcAft>
            </a:pPr>
            <a:r>
              <a:rPr lang="de-DE" sz="1400" dirty="0" err="1">
                <a:solidFill>
                  <a:schemeClr val="bg1"/>
                </a:solidFill>
              </a:rPr>
              <a:t>maximilian.niermann@msg.group</a:t>
            </a:r>
            <a:endParaRPr lang="de-DE" sz="1400" dirty="0">
              <a:solidFill>
                <a:schemeClr val="bg1"/>
              </a:solidFill>
            </a:endParaRPr>
          </a:p>
        </p:txBody>
      </p:sp>
    </p:spTree>
    <p:extLst>
      <p:ext uri="{BB962C8B-B14F-4D97-AF65-F5344CB8AC3E}">
        <p14:creationId xmlns:p14="http://schemas.microsoft.com/office/powerpoint/2010/main" val="1061136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Grün, Farbigkeit, gelb, Wasser enthält.&#10;&#10;Automatisch generierte Beschreibung">
            <a:extLst>
              <a:ext uri="{FF2B5EF4-FFF2-40B4-BE49-F238E27FC236}">
                <a16:creationId xmlns:a16="http://schemas.microsoft.com/office/drawing/2014/main" id="{BC152F2A-384B-035E-9476-78D063F877E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11"/>
            <a:ext cx="6858002" cy="12236817"/>
          </a:xfrm>
          <a:prstGeom prst="rect">
            <a:avLst/>
          </a:prstGeom>
        </p:spPr>
      </p:pic>
      <p:sp>
        <p:nvSpPr>
          <p:cNvPr id="8" name="Rechteck 7">
            <a:extLst>
              <a:ext uri="{FF2B5EF4-FFF2-40B4-BE49-F238E27FC236}">
                <a16:creationId xmlns:a16="http://schemas.microsoft.com/office/drawing/2014/main" id="{A22798E5-EABE-3430-0671-55F820DF7BE5}"/>
              </a:ext>
            </a:extLst>
          </p:cNvPr>
          <p:cNvSpPr/>
          <p:nvPr/>
        </p:nvSpPr>
        <p:spPr>
          <a:xfrm>
            <a:off x="0" y="2721429"/>
            <a:ext cx="12242800" cy="4136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7D402871-D09E-673B-5CD2-EF2030EE88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7D402871-D09E-673B-5CD2-EF2030EE88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itel 1">
            <a:extLst>
              <a:ext uri="{FF2B5EF4-FFF2-40B4-BE49-F238E27FC236}">
                <a16:creationId xmlns:a16="http://schemas.microsoft.com/office/drawing/2014/main" id="{2A2B3586-8499-A25B-3E64-3CBCE1E71826}"/>
              </a:ext>
            </a:extLst>
          </p:cNvPr>
          <p:cNvSpPr txBox="1">
            <a:spLocks/>
          </p:cNvSpPr>
          <p:nvPr/>
        </p:nvSpPr>
        <p:spPr>
          <a:xfrm>
            <a:off x="665749" y="2868838"/>
            <a:ext cx="5351696" cy="640405"/>
          </a:xfrm>
          <a:prstGeom prst="rect">
            <a:avLst/>
          </a:prstGeom>
        </p:spPr>
        <p:txBody>
          <a:bodyPr lIns="0" tIns="0" rIns="0" bIns="0" anchor="t"/>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bg1"/>
                </a:solidFill>
                <a:latin typeface="+mn-lt"/>
              </a:rPr>
              <a:t>Contact</a:t>
            </a:r>
          </a:p>
        </p:txBody>
      </p:sp>
      <p:sp>
        <p:nvSpPr>
          <p:cNvPr id="24" name="Untertitel 2">
            <a:extLst>
              <a:ext uri="{FF2B5EF4-FFF2-40B4-BE49-F238E27FC236}">
                <a16:creationId xmlns:a16="http://schemas.microsoft.com/office/drawing/2014/main" id="{6A7BBADF-3459-12C3-88BB-C9E22B750595}"/>
              </a:ext>
            </a:extLst>
          </p:cNvPr>
          <p:cNvSpPr txBox="1">
            <a:spLocks/>
          </p:cNvSpPr>
          <p:nvPr/>
        </p:nvSpPr>
        <p:spPr>
          <a:xfrm>
            <a:off x="2225145" y="5514841"/>
            <a:ext cx="2239988" cy="646331"/>
          </a:xfrm>
          <a:prstGeom prst="rect">
            <a:avLst/>
          </a:prstGeom>
        </p:spPr>
        <p:txBody>
          <a:bodyPr lIns="0" tIns="0" rIns="0" bIns="0">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msg </a:t>
            </a:r>
            <a:r>
              <a:rPr lang="de-DE" err="1">
                <a:solidFill>
                  <a:schemeClr val="bg1"/>
                </a:solidFill>
              </a:rPr>
              <a:t>systems</a:t>
            </a:r>
            <a:r>
              <a:rPr lang="de-DE">
                <a:solidFill>
                  <a:schemeClr val="bg1"/>
                </a:solidFill>
              </a:rPr>
              <a:t> </a:t>
            </a:r>
            <a:r>
              <a:rPr lang="de-DE" err="1">
                <a:solidFill>
                  <a:schemeClr val="bg1"/>
                </a:solidFill>
              </a:rPr>
              <a:t>ag</a:t>
            </a:r>
            <a:endParaRPr lang="de-DE">
              <a:solidFill>
                <a:schemeClr val="bg1"/>
              </a:solidFill>
            </a:endParaRPr>
          </a:p>
          <a:p>
            <a:pPr>
              <a:spcAft>
                <a:spcPts val="0"/>
              </a:spcAft>
            </a:pPr>
            <a:r>
              <a:rPr lang="de-DE">
                <a:solidFill>
                  <a:schemeClr val="bg1"/>
                </a:solidFill>
              </a:rPr>
              <a:t>Robert-​Bürkle-Straße 1</a:t>
            </a:r>
          </a:p>
          <a:p>
            <a:pPr>
              <a:spcAft>
                <a:spcPts val="0"/>
              </a:spcAft>
            </a:pPr>
            <a:r>
              <a:rPr lang="de-DE">
                <a:solidFill>
                  <a:schemeClr val="bg1"/>
                </a:solidFill>
              </a:rPr>
              <a:t>85737 Ismaning/Germany</a:t>
            </a:r>
          </a:p>
        </p:txBody>
      </p:sp>
      <p:sp>
        <p:nvSpPr>
          <p:cNvPr id="6" name="Untertitel 2">
            <a:extLst>
              <a:ext uri="{FF2B5EF4-FFF2-40B4-BE49-F238E27FC236}">
                <a16:creationId xmlns:a16="http://schemas.microsoft.com/office/drawing/2014/main" id="{428DD793-9677-5915-F077-41AFD7671B32}"/>
              </a:ext>
            </a:extLst>
          </p:cNvPr>
          <p:cNvSpPr txBox="1">
            <a:spLocks/>
          </p:cNvSpPr>
          <p:nvPr/>
        </p:nvSpPr>
        <p:spPr>
          <a:xfrm>
            <a:off x="4359144" y="5514841"/>
            <a:ext cx="1816364" cy="646331"/>
          </a:xfrm>
          <a:prstGeom prst="rect">
            <a:avLst/>
          </a:prstGeom>
        </p:spPr>
        <p:txBody>
          <a:bodyPr lIns="0" tIns="0" rIns="0" bIns="0" anchor="t">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49 89 96101-0</a:t>
            </a:r>
          </a:p>
          <a:p>
            <a:pPr>
              <a:spcAft>
                <a:spcPts val="0"/>
              </a:spcAft>
            </a:pPr>
            <a:r>
              <a:rPr lang="de-DE">
                <a:solidFill>
                  <a:schemeClr val="bg1"/>
                </a:solidFill>
              </a:rPr>
              <a:t>+49 89 96101-​1113</a:t>
            </a:r>
            <a:endParaRPr lang="de-DE">
              <a:solidFill>
                <a:schemeClr val="bg1"/>
              </a:solidFill>
              <a:cs typeface="Calibri"/>
            </a:endParaRPr>
          </a:p>
          <a:p>
            <a:pPr>
              <a:spcAft>
                <a:spcPts val="0"/>
              </a:spcAft>
            </a:pPr>
            <a:r>
              <a:rPr lang="de-DE" err="1">
                <a:solidFill>
                  <a:schemeClr val="bg1"/>
                </a:solidFill>
              </a:rPr>
              <a:t>info@msg.group</a:t>
            </a:r>
            <a:endParaRPr lang="de-DE">
              <a:solidFill>
                <a:schemeClr val="bg1"/>
              </a:solidFill>
              <a:cs typeface="Calibri"/>
            </a:endParaRPr>
          </a:p>
        </p:txBody>
      </p:sp>
      <p:cxnSp>
        <p:nvCxnSpPr>
          <p:cNvPr id="9" name="Gerader Verbinder 8">
            <a:extLst>
              <a:ext uri="{FF2B5EF4-FFF2-40B4-BE49-F238E27FC236}">
                <a16:creationId xmlns:a16="http://schemas.microsoft.com/office/drawing/2014/main" id="{B6CC6271-A501-2E4B-EF59-BAE859EA8AD7}"/>
              </a:ext>
            </a:extLst>
          </p:cNvPr>
          <p:cNvCxnSpPr>
            <a:cxnSpLocks/>
          </p:cNvCxnSpPr>
          <p:nvPr/>
        </p:nvCxnSpPr>
        <p:spPr>
          <a:xfrm>
            <a:off x="2225145" y="5367929"/>
            <a:ext cx="602740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platzhalter 5">
            <a:extLst>
              <a:ext uri="{FF2B5EF4-FFF2-40B4-BE49-F238E27FC236}">
                <a16:creationId xmlns:a16="http://schemas.microsoft.com/office/drawing/2014/main" id="{23456FD2-23B5-1C2D-F058-E0D5FFED274B}"/>
              </a:ext>
            </a:extLst>
          </p:cNvPr>
          <p:cNvSpPr txBox="1">
            <a:spLocks/>
          </p:cNvSpPr>
          <p:nvPr/>
        </p:nvSpPr>
        <p:spPr>
          <a:xfrm>
            <a:off x="2225145" y="3826595"/>
            <a:ext cx="3106228" cy="640405"/>
          </a:xfrm>
          <a:prstGeom prst="rect">
            <a:avLst/>
          </a:prstGeom>
        </p:spPr>
        <p:txBody>
          <a:bodyPr lIns="0" tIns="0" rIns="0" bIns="0"/>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sz="2200">
                <a:solidFill>
                  <a:schemeClr val="bg1"/>
                </a:solidFill>
              </a:rPr>
              <a:t>xxx</a:t>
            </a:r>
          </a:p>
          <a:p>
            <a:pPr>
              <a:spcAft>
                <a:spcPts val="0"/>
              </a:spcAft>
            </a:pPr>
            <a:r>
              <a:rPr lang="de-DE" sz="1400">
                <a:solidFill>
                  <a:schemeClr val="bg1"/>
                </a:solidFill>
              </a:rPr>
              <a:t>Unit xxx</a:t>
            </a:r>
          </a:p>
          <a:p>
            <a:pPr>
              <a:spcAft>
                <a:spcPts val="0"/>
              </a:spcAft>
            </a:pPr>
            <a:endParaRPr lang="de-DE" sz="1400">
              <a:solidFill>
                <a:schemeClr val="bg1"/>
              </a:solidFill>
            </a:endParaRPr>
          </a:p>
          <a:p>
            <a:pPr>
              <a:spcAft>
                <a:spcPts val="0"/>
              </a:spcAft>
            </a:pPr>
            <a:r>
              <a:rPr lang="de-DE" sz="1400" err="1">
                <a:solidFill>
                  <a:schemeClr val="bg1"/>
                </a:solidFill>
              </a:rPr>
              <a:t>John.Doe@msg.group</a:t>
            </a:r>
            <a:endParaRPr lang="de-DE" sz="1400">
              <a:solidFill>
                <a:schemeClr val="bg1"/>
              </a:solidFill>
            </a:endParaRPr>
          </a:p>
          <a:p>
            <a:pPr>
              <a:spcAft>
                <a:spcPts val="0"/>
              </a:spcAft>
            </a:pPr>
            <a:r>
              <a:rPr lang="de-DE" sz="1400">
                <a:solidFill>
                  <a:schemeClr val="bg1"/>
                </a:solidFill>
              </a:rPr>
              <a:t>+49 152 04803791</a:t>
            </a:r>
          </a:p>
        </p:txBody>
      </p:sp>
      <p:pic>
        <p:nvPicPr>
          <p:cNvPr id="18" name="Grafik 17">
            <a:extLst>
              <a:ext uri="{FF2B5EF4-FFF2-40B4-BE49-F238E27FC236}">
                <a16:creationId xmlns:a16="http://schemas.microsoft.com/office/drawing/2014/main" id="{002802AB-5C80-68A9-883B-A72547D36DAB}"/>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t="48461" r="83384"/>
          <a:stretch/>
        </p:blipFill>
        <p:spPr>
          <a:xfrm>
            <a:off x="6282709" y="5419305"/>
            <a:ext cx="327309" cy="349294"/>
          </a:xfrm>
          <a:prstGeom prst="rect">
            <a:avLst/>
          </a:prstGeom>
        </p:spPr>
      </p:pic>
      <p:pic>
        <p:nvPicPr>
          <p:cNvPr id="15" name="Grafik 14">
            <a:extLst>
              <a:ext uri="{FF2B5EF4-FFF2-40B4-BE49-F238E27FC236}">
                <a16:creationId xmlns:a16="http://schemas.microsoft.com/office/drawing/2014/main" id="{B82C33AE-51DF-0E86-2361-AF32F1B6676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78445" y="5779485"/>
            <a:ext cx="476250" cy="476250"/>
          </a:xfrm>
          <a:prstGeom prst="rect">
            <a:avLst/>
          </a:prstGeom>
        </p:spPr>
      </p:pic>
      <p:sp>
        <p:nvSpPr>
          <p:cNvPr id="7" name="Fußzeilenplatzhalter 1">
            <a:extLst>
              <a:ext uri="{FF2B5EF4-FFF2-40B4-BE49-F238E27FC236}">
                <a16:creationId xmlns:a16="http://schemas.microsoft.com/office/drawing/2014/main" id="{29F5D91F-CA1E-518D-02B0-345B8AF14A83}"/>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6 | msg Company Presentation</a:t>
            </a:r>
            <a:endParaRPr lang="de-DE" dirty="0">
              <a:solidFill>
                <a:schemeClr val="bg1"/>
              </a:solidFill>
            </a:endParaRPr>
          </a:p>
        </p:txBody>
      </p:sp>
      <p:sp>
        <p:nvSpPr>
          <p:cNvPr id="10" name="Foliennummernplatzhalter 9">
            <a:extLst>
              <a:ext uri="{FF2B5EF4-FFF2-40B4-BE49-F238E27FC236}">
                <a16:creationId xmlns:a16="http://schemas.microsoft.com/office/drawing/2014/main" id="{FC2688C5-5887-0487-BEF1-1B2BFB4A6749}"/>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51</a:t>
            </a:fld>
            <a:endParaRPr lang="de-DE">
              <a:solidFill>
                <a:schemeClr val="bg1"/>
              </a:solidFill>
            </a:endParaRPr>
          </a:p>
        </p:txBody>
      </p:sp>
      <p:pic>
        <p:nvPicPr>
          <p:cNvPr id="3" name="Grafik 2">
            <a:extLst>
              <a:ext uri="{FF2B5EF4-FFF2-40B4-BE49-F238E27FC236}">
                <a16:creationId xmlns:a16="http://schemas.microsoft.com/office/drawing/2014/main" id="{CB678C1F-F409-E2D7-FA3F-E1D07A7CF5E2}"/>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18884" t="48461" r="61132"/>
          <a:stretch/>
        </p:blipFill>
        <p:spPr>
          <a:xfrm>
            <a:off x="6654694" y="5430191"/>
            <a:ext cx="393643" cy="349294"/>
          </a:xfrm>
          <a:prstGeom prst="rect">
            <a:avLst/>
          </a:prstGeom>
        </p:spPr>
      </p:pic>
      <p:pic>
        <p:nvPicPr>
          <p:cNvPr id="14" name="Grafik 13">
            <a:extLst>
              <a:ext uri="{FF2B5EF4-FFF2-40B4-BE49-F238E27FC236}">
                <a16:creationId xmlns:a16="http://schemas.microsoft.com/office/drawing/2014/main" id="{C6991268-7851-7CB5-DA1C-3868E133B03E}"/>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41136" t="48461" r="40603"/>
          <a:stretch/>
        </p:blipFill>
        <p:spPr>
          <a:xfrm>
            <a:off x="7093013" y="5430191"/>
            <a:ext cx="359701" cy="349294"/>
          </a:xfrm>
          <a:prstGeom prst="rect">
            <a:avLst/>
          </a:prstGeom>
        </p:spPr>
      </p:pic>
      <p:pic>
        <p:nvPicPr>
          <p:cNvPr id="16" name="Grafik 15">
            <a:extLst>
              <a:ext uri="{FF2B5EF4-FFF2-40B4-BE49-F238E27FC236}">
                <a16:creationId xmlns:a16="http://schemas.microsoft.com/office/drawing/2014/main" id="{66048ADE-DA89-A097-0820-6A36334E5198}"/>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61664" t="48461" r="18145"/>
          <a:stretch/>
        </p:blipFill>
        <p:spPr>
          <a:xfrm>
            <a:off x="7497390" y="5430191"/>
            <a:ext cx="397723" cy="349294"/>
          </a:xfrm>
          <a:prstGeom prst="rect">
            <a:avLst/>
          </a:prstGeom>
        </p:spPr>
      </p:pic>
      <p:pic>
        <p:nvPicPr>
          <p:cNvPr id="17" name="Grafik 16">
            <a:extLst>
              <a:ext uri="{FF2B5EF4-FFF2-40B4-BE49-F238E27FC236}">
                <a16:creationId xmlns:a16="http://schemas.microsoft.com/office/drawing/2014/main" id="{D97D1E85-D36C-5F20-F1A0-2B54FF1E06D1}"/>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l="83895" t="48461"/>
          <a:stretch/>
        </p:blipFill>
        <p:spPr>
          <a:xfrm>
            <a:off x="7935310" y="5430191"/>
            <a:ext cx="317238" cy="349294"/>
          </a:xfrm>
          <a:prstGeom prst="rect">
            <a:avLst/>
          </a:prstGeom>
        </p:spPr>
      </p:pic>
      <p:sp>
        <p:nvSpPr>
          <p:cNvPr id="19" name="Oval 18">
            <a:extLst>
              <a:ext uri="{FF2B5EF4-FFF2-40B4-BE49-F238E27FC236}">
                <a16:creationId xmlns:a16="http://schemas.microsoft.com/office/drawing/2014/main" id="{C05142E8-1855-75F2-05FB-C6BFAA274C98}"/>
              </a:ext>
            </a:extLst>
          </p:cNvPr>
          <p:cNvSpPr/>
          <p:nvPr/>
        </p:nvSpPr>
        <p:spPr>
          <a:xfrm>
            <a:off x="658813" y="3826468"/>
            <a:ext cx="1170000" cy="11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pic>
        <p:nvPicPr>
          <p:cNvPr id="20" name="Grafik 19">
            <a:extLst>
              <a:ext uri="{FF2B5EF4-FFF2-40B4-BE49-F238E27FC236}">
                <a16:creationId xmlns:a16="http://schemas.microsoft.com/office/drawing/2014/main" id="{2FC6070A-49CE-CA3A-E7AB-73F69D94CE70}"/>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225312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1" descr="Ein Bild, das Person, Menschliches Gesicht, Kleidung, Blazer enthält.&#10;&#10;Automatisch generierte Beschreibung">
            <a:extLst>
              <a:ext uri="{FF2B5EF4-FFF2-40B4-BE49-F238E27FC236}">
                <a16:creationId xmlns:a16="http://schemas.microsoft.com/office/drawing/2014/main" id="{2C90468F-FE11-4184-F59A-5C79750AB146}"/>
              </a:ext>
            </a:extLst>
          </p:cNvPr>
          <p:cNvPicPr>
            <a:picLocks noGrp="1" noChangeAspect="1"/>
          </p:cNvPicPr>
          <p:nvPr>
            <p:ph type="pic" sz="quarter" idx="13"/>
          </p:nvPr>
        </p:nvPicPr>
        <p:blipFill rotWithShape="1">
          <a:blip r:embed="rId4" cstate="screen">
            <a:extLst>
              <a:ext uri="{28A0092B-C50C-407E-A947-70E740481C1C}">
                <a14:useLocalDpi xmlns:a14="http://schemas.microsoft.com/office/drawing/2010/main" val="0"/>
              </a:ext>
            </a:extLst>
          </a:blip>
          <a:srcRect l="171" r="171"/>
          <a:stretch/>
        </p:blipFill>
        <p:spPr>
          <a:xfrm>
            <a:off x="-31750" y="-44450"/>
            <a:ext cx="4100513" cy="6902450"/>
          </a:xfrm>
          <a:effectLst/>
        </p:spPr>
      </p:pic>
      <p:sp>
        <p:nvSpPr>
          <p:cNvPr id="15" name="Titel 14">
            <a:extLst>
              <a:ext uri="{FF2B5EF4-FFF2-40B4-BE49-F238E27FC236}">
                <a16:creationId xmlns:a16="http://schemas.microsoft.com/office/drawing/2014/main" id="{4473F2F4-F450-6F43-E016-64CA68B36B5D}"/>
              </a:ext>
            </a:extLst>
          </p:cNvPr>
          <p:cNvSpPr>
            <a:spLocks noGrp="1"/>
          </p:cNvSpPr>
          <p:nvPr>
            <p:ph type="title"/>
          </p:nvPr>
        </p:nvSpPr>
        <p:spPr>
          <a:xfrm>
            <a:off x="5890523" y="956286"/>
            <a:ext cx="5966516" cy="738664"/>
          </a:xfrm>
        </p:spPr>
        <p:txBody>
          <a:bodyPr/>
          <a:lstStyle/>
          <a:p>
            <a:r>
              <a:rPr lang="de-DE" b="1" dirty="0"/>
              <a:t>Putting </a:t>
            </a:r>
            <a:r>
              <a:rPr lang="de-DE" b="1" dirty="0" err="1"/>
              <a:t>people</a:t>
            </a:r>
            <a:r>
              <a:rPr lang="de-DE" b="1" dirty="0"/>
              <a:t> </a:t>
            </a:r>
            <a:r>
              <a:rPr lang="de-DE" b="1" dirty="0" err="1"/>
              <a:t>first</a:t>
            </a:r>
            <a:r>
              <a:rPr lang="de-DE" b="1" dirty="0"/>
              <a:t>:</a:t>
            </a:r>
            <a:br>
              <a:rPr lang="de-DE" dirty="0">
                <a:solidFill>
                  <a:schemeClr val="accent1"/>
                </a:solidFill>
              </a:rPr>
            </a:br>
            <a:r>
              <a:rPr lang="en-US" dirty="0"/>
              <a:t>as customers, as users of our solutions and as employees. </a:t>
            </a:r>
            <a:br>
              <a:rPr lang="en-US" dirty="0"/>
            </a:br>
            <a:endParaRPr lang="de-DE" dirty="0"/>
          </a:p>
        </p:txBody>
      </p:sp>
      <p:sp>
        <p:nvSpPr>
          <p:cNvPr id="18" name="Fußzeilenplatzhalter 17">
            <a:extLst>
              <a:ext uri="{FF2B5EF4-FFF2-40B4-BE49-F238E27FC236}">
                <a16:creationId xmlns:a16="http://schemas.microsoft.com/office/drawing/2014/main" id="{4A645CAC-767A-2A0F-C136-27022520E914}"/>
              </a:ext>
            </a:extLst>
          </p:cNvPr>
          <p:cNvSpPr>
            <a:spLocks noGrp="1"/>
          </p:cNvSpPr>
          <p:nvPr>
            <p:ph type="ftr" sz="quarter" idx="10"/>
          </p:nvPr>
        </p:nvSpPr>
        <p:spPr>
          <a:xfrm>
            <a:off x="4666735" y="6443762"/>
            <a:ext cx="4968501" cy="153888"/>
          </a:xfrm>
        </p:spPr>
        <p:txBody>
          <a:bodyPr/>
          <a:lstStyle/>
          <a:p>
            <a:r>
              <a:rPr lang="en-US" dirty="0"/>
              <a:t>© msg systems ag | 2026 | msg Company Presentation</a:t>
            </a:r>
            <a:endParaRPr lang="de-DE" dirty="0"/>
          </a:p>
        </p:txBody>
      </p:sp>
      <p:sp>
        <p:nvSpPr>
          <p:cNvPr id="21" name="Foliennummernplatzhalter 20">
            <a:extLst>
              <a:ext uri="{FF2B5EF4-FFF2-40B4-BE49-F238E27FC236}">
                <a16:creationId xmlns:a16="http://schemas.microsoft.com/office/drawing/2014/main" id="{558B7806-5371-E568-5CEA-B9BDBBDEBECC}"/>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pPr/>
              <a:t>6</a:t>
            </a:fld>
            <a:endParaRPr lang="de-DE"/>
          </a:p>
        </p:txBody>
      </p:sp>
      <p:pic>
        <p:nvPicPr>
          <p:cNvPr id="5" name="Bildplatzhalter 11" descr="Ein Bild, das Person, Menschliches Gesicht, Kleidung, Blazer enthält.&#10;&#10;Automatisch generierte Beschreibung">
            <a:extLst>
              <a:ext uri="{FF2B5EF4-FFF2-40B4-BE49-F238E27FC236}">
                <a16:creationId xmlns:a16="http://schemas.microsoft.com/office/drawing/2014/main" id="{0F5448F7-D57F-8336-2015-291B1EA6B4EF}"/>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l="171" r="171"/>
          <a:stretch/>
        </p:blipFill>
        <p:spPr>
          <a:xfrm>
            <a:off x="-31750" y="-44450"/>
            <a:ext cx="4100513" cy="6902450"/>
          </a:xfrm>
          <a:prstGeom prst="rect">
            <a:avLst/>
          </a:prstGeom>
          <a:effectLst/>
        </p:spPr>
      </p:pic>
      <p:sp>
        <p:nvSpPr>
          <p:cNvPr id="7" name="Eine Ecke des Rechtecks abrunden 6">
            <a:extLst>
              <a:ext uri="{FF2B5EF4-FFF2-40B4-BE49-F238E27FC236}">
                <a16:creationId xmlns:a16="http://schemas.microsoft.com/office/drawing/2014/main" id="{5B4DD744-9542-D022-82EE-01E676E07382}"/>
              </a:ext>
            </a:extLst>
          </p:cNvPr>
          <p:cNvSpPr/>
          <p:nvPr/>
        </p:nvSpPr>
        <p:spPr>
          <a:xfrm rot="10800000">
            <a:off x="3166056" y="-129541"/>
            <a:ext cx="1573583" cy="2180415"/>
          </a:xfrm>
          <a:prstGeom prst="round1Rect">
            <a:avLst>
              <a:gd name="adj" fmla="val 2100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graphicFrame>
        <p:nvGraphicFramePr>
          <p:cNvPr id="3" name="think-cell data - do not delete" hidden="1">
            <a:extLst>
              <a:ext uri="{FF2B5EF4-FFF2-40B4-BE49-F238E27FC236}">
                <a16:creationId xmlns:a16="http://schemas.microsoft.com/office/drawing/2014/main" id="{04CAAFB6-4EEB-4797-E12D-0D74930F39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3" name="think-cell data - do not delete" hidden="1">
                        <a:extLst>
                          <a:ext uri="{FF2B5EF4-FFF2-40B4-BE49-F238E27FC236}">
                            <a16:creationId xmlns:a16="http://schemas.microsoft.com/office/drawing/2014/main" id="{04CAAFB6-4EEB-4797-E12D-0D74930F39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45009201-F760-F079-1682-C0962123C117}"/>
              </a:ext>
            </a:extLst>
          </p:cNvPr>
          <p:cNvSpPr txBox="1"/>
          <p:nvPr/>
        </p:nvSpPr>
        <p:spPr>
          <a:xfrm>
            <a:off x="4667250" y="2822293"/>
            <a:ext cx="7279841" cy="2246769"/>
          </a:xfrm>
          <a:prstGeom prst="rect">
            <a:avLst/>
          </a:prstGeom>
          <a:noFill/>
        </p:spPr>
        <p:txBody>
          <a:bodyPr wrap="square" lIns="0" tIns="0" rIns="0" bIns="0" anchor="t">
            <a:spAutoFit/>
          </a:bodyPr>
          <a:lstStyle/>
          <a:p>
            <a:pPr>
              <a:spcAft>
                <a:spcPts val="1200"/>
              </a:spcAft>
            </a:pPr>
            <a:r>
              <a:rPr lang="en-US" dirty="0">
                <a:effectLst/>
                <a:ea typeface="Calibri" panose="020F0502020204030204" pitchFamily="34" charset="0"/>
                <a:cs typeface="Calibri Light"/>
              </a:rPr>
              <a:t>We build on over 40 years of industry expertise and the creative and solution-driven entrepreneurial spirit that has always been our hallmark. As one of the few owner-managed IT consulting companies in Germany, we draw on the diversity within our group of companies, from the initial idea through to application.</a:t>
            </a:r>
          </a:p>
          <a:p>
            <a:pPr>
              <a:spcAft>
                <a:spcPts val="1200"/>
              </a:spcAft>
            </a:pPr>
            <a:r>
              <a:rPr lang="en-US" spc="-50" dirty="0">
                <a:effectLst/>
                <a:ea typeface="Calibri" panose="020F0502020204030204" pitchFamily="34" charset="0"/>
                <a:cs typeface="Calibri Light"/>
              </a:rPr>
              <a:t>We acknowledge this consideration with our motto </a:t>
            </a:r>
            <a:r>
              <a:rPr lang="en-US" spc="-50" dirty="0">
                <a:solidFill>
                  <a:schemeClr val="accent1"/>
                </a:solidFill>
                <a:effectLst/>
                <a:ea typeface="Calibri" panose="020F0502020204030204" pitchFamily="34" charset="0"/>
                <a:cs typeface="Calibri Light"/>
              </a:rPr>
              <a:t>“value – inspired by people”</a:t>
            </a:r>
            <a:r>
              <a:rPr lang="en-US" spc="-50" dirty="0">
                <a:effectLst/>
                <a:ea typeface="Calibri" panose="020F0502020204030204" pitchFamily="34" charset="0"/>
                <a:cs typeface="Calibri Light"/>
              </a:rPr>
              <a:t>.</a:t>
            </a:r>
          </a:p>
          <a:p>
            <a:pPr>
              <a:spcAft>
                <a:spcPts val="1200"/>
              </a:spcAft>
            </a:pPr>
            <a:endParaRPr lang="de-DE" dirty="0">
              <a:effectLst/>
              <a:ea typeface="Calibri" panose="020F0502020204030204" pitchFamily="34" charset="0"/>
              <a:cs typeface="Calibri Light" panose="020F0302020204030204" pitchFamily="34" charset="0"/>
            </a:endParaRPr>
          </a:p>
        </p:txBody>
      </p:sp>
      <p:sp>
        <p:nvSpPr>
          <p:cNvPr id="4" name="Textfeld 3">
            <a:extLst>
              <a:ext uri="{FF2B5EF4-FFF2-40B4-BE49-F238E27FC236}">
                <a16:creationId xmlns:a16="http://schemas.microsoft.com/office/drawing/2014/main" id="{3399F31C-F9D0-F189-7D9F-EC7510E8A604}"/>
              </a:ext>
            </a:extLst>
          </p:cNvPr>
          <p:cNvSpPr txBox="1"/>
          <p:nvPr/>
        </p:nvSpPr>
        <p:spPr>
          <a:xfrm>
            <a:off x="6254750" y="5266191"/>
            <a:ext cx="5587428" cy="553998"/>
          </a:xfrm>
          <a:prstGeom prst="rect">
            <a:avLst/>
          </a:prstGeom>
          <a:noFill/>
        </p:spPr>
        <p:txBody>
          <a:bodyPr wrap="square" lIns="0" tIns="0" rIns="0" bIns="0" anchor="t">
            <a:spAutoFit/>
          </a:bodyPr>
          <a:lstStyle/>
          <a:p>
            <a:pPr algn="r"/>
            <a:r>
              <a:rPr lang="de-DE"/>
              <a:t>Dr. Jürgen Zehetmaier</a:t>
            </a:r>
            <a:br>
              <a:rPr lang="de-DE"/>
            </a:br>
            <a:r>
              <a:rPr lang="de-DE"/>
              <a:t>CEO msg</a:t>
            </a:r>
          </a:p>
        </p:txBody>
      </p:sp>
      <p:grpSp>
        <p:nvGrpSpPr>
          <p:cNvPr id="2" name="Gruppieren 1">
            <a:extLst>
              <a:ext uri="{FF2B5EF4-FFF2-40B4-BE49-F238E27FC236}">
                <a16:creationId xmlns:a16="http://schemas.microsoft.com/office/drawing/2014/main" id="{67D286EF-B13B-0C32-F6F8-E9BD1D2A2788}"/>
              </a:ext>
            </a:extLst>
          </p:cNvPr>
          <p:cNvGrpSpPr/>
          <p:nvPr/>
        </p:nvGrpSpPr>
        <p:grpSpPr>
          <a:xfrm>
            <a:off x="3334377" y="-1409700"/>
            <a:ext cx="2670500" cy="3204602"/>
            <a:chOff x="195166" y="-2115744"/>
            <a:chExt cx="4306119" cy="5167343"/>
          </a:xfrm>
        </p:grpSpPr>
        <p:pic>
          <p:nvPicPr>
            <p:cNvPr id="6" name="Grafik 5">
              <a:extLst>
                <a:ext uri="{FF2B5EF4-FFF2-40B4-BE49-F238E27FC236}">
                  <a16:creationId xmlns:a16="http://schemas.microsoft.com/office/drawing/2014/main" id="{C7A914E0-BD27-95AD-A5A2-9FA8299F6AAE}"/>
                </a:ext>
              </a:extLst>
            </p:cNvPr>
            <p:cNvPicPr>
              <a:picLocks noChangeAspect="1"/>
            </p:cNvPicPr>
            <p:nvPr/>
          </p:nvPicPr>
          <p:blipFill rotWithShape="1">
            <a:blip r:embed="rId7"/>
            <a:srcRect b="33497"/>
            <a:stretch/>
          </p:blipFill>
          <p:spPr>
            <a:xfrm>
              <a:off x="195166" y="-1038322"/>
              <a:ext cx="4306119" cy="4054988"/>
            </a:xfrm>
            <a:prstGeom prst="rect">
              <a:avLst/>
            </a:prstGeom>
          </p:spPr>
        </p:pic>
        <p:pic>
          <p:nvPicPr>
            <p:cNvPr id="10" name="Grafik 9">
              <a:extLst>
                <a:ext uri="{FF2B5EF4-FFF2-40B4-BE49-F238E27FC236}">
                  <a16:creationId xmlns:a16="http://schemas.microsoft.com/office/drawing/2014/main" id="{661079FD-3AAF-CFD5-6E04-6D76B8AD66A4}"/>
                </a:ext>
              </a:extLst>
            </p:cNvPr>
            <p:cNvPicPr>
              <a:picLocks noChangeAspect="1"/>
            </p:cNvPicPr>
            <p:nvPr/>
          </p:nvPicPr>
          <p:blipFill>
            <a:blip r:embed="rId8"/>
            <a:stretch>
              <a:fillRect/>
            </a:stretch>
          </p:blipFill>
          <p:spPr>
            <a:xfrm>
              <a:off x="479425" y="-2115744"/>
              <a:ext cx="3651589" cy="5167343"/>
            </a:xfrm>
            <a:prstGeom prst="rect">
              <a:avLst/>
            </a:prstGeom>
          </p:spPr>
        </p:pic>
      </p:grpSp>
    </p:spTree>
    <p:extLst>
      <p:ext uri="{BB962C8B-B14F-4D97-AF65-F5344CB8AC3E}">
        <p14:creationId xmlns:p14="http://schemas.microsoft.com/office/powerpoint/2010/main" val="389427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3F434AE0-9A58-69E0-497F-DE8947A50ACE}"/>
              </a:ext>
            </a:extLst>
          </p:cNvPr>
          <p:cNvSpPr>
            <a:spLocks noGrp="1"/>
          </p:cNvSpPr>
          <p:nvPr>
            <p:ph type="body" sz="quarter" idx="12"/>
          </p:nvPr>
        </p:nvSpPr>
        <p:spPr/>
        <p:txBody>
          <a:bodyPr/>
          <a:lstStyle/>
          <a:p>
            <a:r>
              <a:rPr lang="en-US"/>
              <a:t>The msg group at a glance</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en-US" dirty="0"/>
              <a:t>Why msg is the </a:t>
            </a:r>
            <a:r>
              <a:rPr lang="en-US" b="1" dirty="0"/>
              <a:t>right partner</a:t>
            </a:r>
          </a:p>
        </p:txBody>
      </p:sp>
      <p:sp>
        <p:nvSpPr>
          <p:cNvPr id="2" name="Fußzeilenplatzhalter 1">
            <a:extLst>
              <a:ext uri="{FF2B5EF4-FFF2-40B4-BE49-F238E27FC236}">
                <a16:creationId xmlns:a16="http://schemas.microsoft.com/office/drawing/2014/main" id="{E76ACFFF-5C94-8CA6-B823-E83E9C6DDD23}"/>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7</a:t>
            </a:fld>
            <a:endParaRPr lang="de-DE"/>
          </a:p>
        </p:txBody>
      </p:sp>
      <p:grpSp>
        <p:nvGrpSpPr>
          <p:cNvPr id="15" name="Gruppieren 14">
            <a:extLst>
              <a:ext uri="{FF2B5EF4-FFF2-40B4-BE49-F238E27FC236}">
                <a16:creationId xmlns:a16="http://schemas.microsoft.com/office/drawing/2014/main" id="{0EF89F6A-B727-20F5-7F3C-B9222755A471}"/>
              </a:ext>
            </a:extLst>
          </p:cNvPr>
          <p:cNvGrpSpPr/>
          <p:nvPr/>
        </p:nvGrpSpPr>
        <p:grpSpPr>
          <a:xfrm>
            <a:off x="578940" y="2036481"/>
            <a:ext cx="10260695" cy="4128913"/>
            <a:chOff x="578940" y="2036481"/>
            <a:chExt cx="10260695" cy="4128913"/>
          </a:xfrm>
        </p:grpSpPr>
        <p:sp>
          <p:nvSpPr>
            <p:cNvPr id="16" name="Textfeld 15">
              <a:extLst>
                <a:ext uri="{FF2B5EF4-FFF2-40B4-BE49-F238E27FC236}">
                  <a16:creationId xmlns:a16="http://schemas.microsoft.com/office/drawing/2014/main" id="{23AA6DBB-BA5F-924C-F16A-B4FECEB48CED}"/>
                </a:ext>
              </a:extLst>
            </p:cNvPr>
            <p:cNvSpPr txBox="1"/>
            <p:nvPr/>
          </p:nvSpPr>
          <p:spPr>
            <a:xfrm>
              <a:off x="2674938" y="3429000"/>
              <a:ext cx="8164697"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de-DE"/>
              </a:defPPr>
              <a:lvl1pPr>
                <a:lnSpc>
                  <a:spcPct val="100000"/>
                </a:lnSpc>
                <a:defRPr sz="2200">
                  <a:solidFill>
                    <a:schemeClr val="tx2">
                      <a:lumMod val="60000"/>
                      <a:lumOff val="40000"/>
                    </a:schemeClr>
                  </a:solidFill>
                  <a:effectLst/>
                  <a:latin typeface="Aptos Light" panose="020B0004020202020204" pitchFamily="34" charset="0"/>
                  <a:ea typeface="Calibri"/>
                  <a:cs typeface="Calibri"/>
                </a:defRPr>
              </a:lvl1pPr>
            </a:lstStyle>
            <a:p>
              <a:r>
                <a:rPr lang="en-US">
                  <a:latin typeface="+mn-lt"/>
                </a:rPr>
                <a:t>As an owner-managed company, our actions are directed </a:t>
              </a:r>
              <a:br>
                <a:rPr lang="en-US">
                  <a:latin typeface="+mn-lt"/>
                </a:rPr>
              </a:br>
              <a:r>
                <a:rPr lang="en-US">
                  <a:latin typeface="+mn-lt"/>
                </a:rPr>
                <a:t>towards people: Business partners and employees are our focus.</a:t>
              </a:r>
              <a:br>
                <a:rPr lang="en-US">
                  <a:latin typeface="+mn-lt"/>
                </a:rPr>
              </a:br>
              <a:br>
                <a:rPr lang="en-US">
                  <a:latin typeface="+mn-lt"/>
                </a:rPr>
              </a:br>
              <a:r>
                <a:rPr lang="en-US">
                  <a:latin typeface="+mn-lt"/>
                </a:rPr>
                <a:t>Because we are convinced: </a:t>
              </a:r>
              <a:br>
                <a:rPr lang="en-US">
                  <a:latin typeface="+mn-lt"/>
                </a:rPr>
              </a:br>
              <a:r>
                <a:rPr lang="en-US">
                  <a:latin typeface="+mn-lt"/>
                </a:rPr>
                <a:t>This is the only way to find the best solutions.</a:t>
              </a:r>
            </a:p>
          </p:txBody>
        </p:sp>
        <p:pic>
          <p:nvPicPr>
            <p:cNvPr id="17" name="Grafik 16">
              <a:extLst>
                <a:ext uri="{FF2B5EF4-FFF2-40B4-BE49-F238E27FC236}">
                  <a16:creationId xmlns:a16="http://schemas.microsoft.com/office/drawing/2014/main" id="{940D2EFB-53BD-8455-A8C6-BF267373D8D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78940" y="2036481"/>
              <a:ext cx="7278127" cy="1114152"/>
            </a:xfrm>
            <a:prstGeom prst="rect">
              <a:avLst/>
            </a:prstGeom>
          </p:spPr>
        </p:pic>
      </p:grpSp>
    </p:spTree>
    <p:extLst>
      <p:ext uri="{BB962C8B-B14F-4D97-AF65-F5344CB8AC3E}">
        <p14:creationId xmlns:p14="http://schemas.microsoft.com/office/powerpoint/2010/main" val="236024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50" fill="hold"/>
                                        <p:tgtEl>
                                          <p:spTgt spid="15"/>
                                        </p:tgtEl>
                                        <p:attrNameLst>
                                          <p:attrName>ppt_x</p:attrName>
                                        </p:attrNameLst>
                                      </p:cBhvr>
                                      <p:tavLst>
                                        <p:tav tm="0">
                                          <p:val>
                                            <p:strVal val="0-#ppt_w/2"/>
                                          </p:val>
                                        </p:tav>
                                        <p:tav tm="100000">
                                          <p:val>
                                            <p:strVal val="#ppt_x"/>
                                          </p:val>
                                        </p:tav>
                                      </p:tavLst>
                                    </p:anim>
                                    <p:anim calcmode="lin" valueType="num">
                                      <p:cBhvr additive="base">
                                        <p:cTn id="8" dur="25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E3E6F726-4BF1-4475-059E-0792DFD1231C}"/>
              </a:ext>
            </a:extLst>
          </p:cNvPr>
          <p:cNvSpPr>
            <a:spLocks noGrp="1"/>
          </p:cNvSpPr>
          <p:nvPr>
            <p:ph type="body" sz="quarter" idx="12"/>
          </p:nvPr>
        </p:nvSpPr>
        <p:spPr/>
        <p:txBody>
          <a:bodyPr/>
          <a:lstStyle/>
          <a:p>
            <a:r>
              <a:rPr lang="en-US"/>
              <a:t>The msg group at a glance</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en-US" dirty="0"/>
              <a:t>Why msg is the </a:t>
            </a:r>
            <a:r>
              <a:rPr lang="en-US" b="1" dirty="0"/>
              <a:t>right partner</a:t>
            </a:r>
          </a:p>
        </p:txBody>
      </p:sp>
      <p:sp>
        <p:nvSpPr>
          <p:cNvPr id="4" name="Fußzeilenplatzhalter 1">
            <a:extLst>
              <a:ext uri="{FF2B5EF4-FFF2-40B4-BE49-F238E27FC236}">
                <a16:creationId xmlns:a16="http://schemas.microsoft.com/office/drawing/2014/main" id="{2C0E2186-0BFE-BDBD-6974-0141C376E978}"/>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8</a:t>
            </a:fld>
            <a:endParaRPr lang="de-DE"/>
          </a:p>
        </p:txBody>
      </p:sp>
      <p:grpSp>
        <p:nvGrpSpPr>
          <p:cNvPr id="15" name="Gruppieren 14">
            <a:extLst>
              <a:ext uri="{FF2B5EF4-FFF2-40B4-BE49-F238E27FC236}">
                <a16:creationId xmlns:a16="http://schemas.microsoft.com/office/drawing/2014/main" id="{0EF89F6A-B727-20F5-7F3C-B9222755A471}"/>
              </a:ext>
            </a:extLst>
          </p:cNvPr>
          <p:cNvGrpSpPr/>
          <p:nvPr/>
        </p:nvGrpSpPr>
        <p:grpSpPr>
          <a:xfrm>
            <a:off x="579120" y="2036480"/>
            <a:ext cx="8795698" cy="4128914"/>
            <a:chOff x="579120" y="2036480"/>
            <a:chExt cx="8795698" cy="4128914"/>
          </a:xfrm>
        </p:grpSpPr>
        <p:sp>
          <p:nvSpPr>
            <p:cNvPr id="16" name="Textfeld 15">
              <a:extLst>
                <a:ext uri="{FF2B5EF4-FFF2-40B4-BE49-F238E27FC236}">
                  <a16:creationId xmlns:a16="http://schemas.microsoft.com/office/drawing/2014/main" id="{23AA6DBB-BA5F-924C-F16A-B4FECEB48CED}"/>
                </a:ext>
              </a:extLst>
            </p:cNvPr>
            <p:cNvSpPr txBox="1"/>
            <p:nvPr/>
          </p:nvSpPr>
          <p:spPr>
            <a:xfrm>
              <a:off x="2674937" y="3429000"/>
              <a:ext cx="6699881"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de-DE"/>
              </a:defPPr>
              <a:lvl1pPr>
                <a:lnSpc>
                  <a:spcPct val="100000"/>
                </a:lnSpc>
                <a:defRPr sz="2200">
                  <a:solidFill>
                    <a:schemeClr val="tx2">
                      <a:lumMod val="60000"/>
                      <a:lumOff val="40000"/>
                    </a:schemeClr>
                  </a:solidFill>
                  <a:effectLst/>
                  <a:latin typeface="Aptos Light" panose="020B0004020202020204" pitchFamily="34" charset="0"/>
                  <a:ea typeface="Calibri"/>
                  <a:cs typeface="Calibri"/>
                </a:defRPr>
              </a:lvl1pPr>
            </a:lstStyle>
            <a:p>
              <a:r>
                <a:rPr lang="en-US">
                  <a:latin typeface="+mn-lt"/>
                </a:rPr>
                <a:t>msg demonstrates entrepreneurial spirit and courage.</a:t>
              </a:r>
            </a:p>
            <a:p>
              <a:endParaRPr lang="en-US">
                <a:latin typeface="+mn-lt"/>
              </a:endParaRPr>
            </a:p>
            <a:p>
              <a:r>
                <a:rPr lang="en-US">
                  <a:latin typeface="+mn-lt"/>
                </a:rPr>
                <a:t>We are continuously exploring new opportunities with our business partners to pave the way for the future.</a:t>
              </a:r>
            </a:p>
            <a:p>
              <a:endParaRPr lang="en-US">
                <a:latin typeface="+mn-lt"/>
              </a:endParaRPr>
            </a:p>
          </p:txBody>
        </p:sp>
        <p:pic>
          <p:nvPicPr>
            <p:cNvPr id="17" name="Grafik 16">
              <a:extLst>
                <a:ext uri="{FF2B5EF4-FFF2-40B4-BE49-F238E27FC236}">
                  <a16:creationId xmlns:a16="http://schemas.microsoft.com/office/drawing/2014/main" id="{940D2EFB-53BD-8455-A8C6-BF267373D8D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20238"/>
            <a:stretch/>
          </p:blipFill>
          <p:spPr>
            <a:xfrm>
              <a:off x="579120" y="2036480"/>
              <a:ext cx="7610559" cy="1114152"/>
            </a:xfrm>
            <a:prstGeom prst="rect">
              <a:avLst/>
            </a:prstGeom>
          </p:spPr>
        </p:pic>
      </p:grpSp>
    </p:spTree>
    <p:extLst>
      <p:ext uri="{BB962C8B-B14F-4D97-AF65-F5344CB8AC3E}">
        <p14:creationId xmlns:p14="http://schemas.microsoft.com/office/powerpoint/2010/main" val="3036106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50" fill="hold"/>
                                        <p:tgtEl>
                                          <p:spTgt spid="15"/>
                                        </p:tgtEl>
                                        <p:attrNameLst>
                                          <p:attrName>ppt_x</p:attrName>
                                        </p:attrNameLst>
                                      </p:cBhvr>
                                      <p:tavLst>
                                        <p:tav tm="0">
                                          <p:val>
                                            <p:strVal val="0-#ppt_w/2"/>
                                          </p:val>
                                        </p:tav>
                                        <p:tav tm="100000">
                                          <p:val>
                                            <p:strVal val="#ppt_x"/>
                                          </p:val>
                                        </p:tav>
                                      </p:tavLst>
                                    </p:anim>
                                    <p:anim calcmode="lin" valueType="num">
                                      <p:cBhvr additive="base">
                                        <p:cTn id="8" dur="25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5B80022-C1AB-3D1D-A85D-37E624A5587F}"/>
              </a:ext>
            </a:extLst>
          </p:cNvPr>
          <p:cNvSpPr>
            <a:spLocks noGrp="1"/>
          </p:cNvSpPr>
          <p:nvPr>
            <p:ph type="body" sz="quarter" idx="12"/>
          </p:nvPr>
        </p:nvSpPr>
        <p:spPr/>
        <p:txBody>
          <a:bodyPr/>
          <a:lstStyle/>
          <a:p>
            <a:r>
              <a:rPr lang="en-US"/>
              <a:t>The msg group at a glance</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en-US" dirty="0"/>
              <a:t>Why msg is the </a:t>
            </a:r>
            <a:r>
              <a:rPr lang="en-US" b="1" dirty="0"/>
              <a:t>right partner</a:t>
            </a:r>
          </a:p>
        </p:txBody>
      </p:sp>
      <p:sp>
        <p:nvSpPr>
          <p:cNvPr id="8" name="Fußzeilenplatzhalter 1">
            <a:extLst>
              <a:ext uri="{FF2B5EF4-FFF2-40B4-BE49-F238E27FC236}">
                <a16:creationId xmlns:a16="http://schemas.microsoft.com/office/drawing/2014/main" id="{FC8548E7-1203-7DB5-8C7B-45FDE2A4E234}"/>
              </a:ext>
            </a:extLst>
          </p:cNvPr>
          <p:cNvSpPr>
            <a:spLocks noGrp="1"/>
          </p:cNvSpPr>
          <p:nvPr>
            <p:ph type="ftr" sz="quarter" idx="10"/>
          </p:nvPr>
        </p:nvSpPr>
        <p:spPr/>
        <p:txBody>
          <a:bodyPr/>
          <a:lstStyle/>
          <a:p>
            <a:r>
              <a:rPr lang="en-US" dirty="0"/>
              <a:t>© msg systems ag | 2026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9</a:t>
            </a:fld>
            <a:endParaRPr lang="de-DE"/>
          </a:p>
        </p:txBody>
      </p:sp>
      <p:grpSp>
        <p:nvGrpSpPr>
          <p:cNvPr id="4" name="Gruppieren 3">
            <a:extLst>
              <a:ext uri="{FF2B5EF4-FFF2-40B4-BE49-F238E27FC236}">
                <a16:creationId xmlns:a16="http://schemas.microsoft.com/office/drawing/2014/main" id="{2744A128-AD88-3B86-71B3-24301BEF353B}"/>
              </a:ext>
            </a:extLst>
          </p:cNvPr>
          <p:cNvGrpSpPr/>
          <p:nvPr/>
        </p:nvGrpSpPr>
        <p:grpSpPr>
          <a:xfrm>
            <a:off x="542926" y="1916589"/>
            <a:ext cx="10701337" cy="4248805"/>
            <a:chOff x="542926" y="1916589"/>
            <a:chExt cx="10701337" cy="4248805"/>
          </a:xfrm>
        </p:grpSpPr>
        <p:sp>
          <p:nvSpPr>
            <p:cNvPr id="5" name="Textfeld 4">
              <a:extLst>
                <a:ext uri="{FF2B5EF4-FFF2-40B4-BE49-F238E27FC236}">
                  <a16:creationId xmlns:a16="http://schemas.microsoft.com/office/drawing/2014/main" id="{2B5E28CE-4733-CC3E-0FDD-256FB27EED1B}"/>
                </a:ext>
              </a:extLst>
            </p:cNvPr>
            <p:cNvSpPr txBox="1"/>
            <p:nvPr/>
          </p:nvSpPr>
          <p:spPr>
            <a:xfrm>
              <a:off x="2674938" y="3429000"/>
              <a:ext cx="8569325"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de-DE"/>
              </a:defPPr>
              <a:lvl1pPr>
                <a:lnSpc>
                  <a:spcPct val="100000"/>
                </a:lnSpc>
                <a:defRPr sz="2200">
                  <a:solidFill>
                    <a:schemeClr val="tx2">
                      <a:lumMod val="60000"/>
                      <a:lumOff val="40000"/>
                    </a:schemeClr>
                  </a:solidFill>
                  <a:effectLst/>
                  <a:latin typeface="Aptos Light" panose="020B0004020202020204" pitchFamily="34" charset="0"/>
                  <a:ea typeface="Calibri"/>
                  <a:cs typeface="Calibri"/>
                </a:defRPr>
              </a:lvl1pPr>
            </a:lstStyle>
            <a:p>
              <a:r>
                <a:rPr lang="en-US">
                  <a:latin typeface="+mn-lt"/>
                </a:rPr>
                <a:t>Our business partners can rest assured that msg “delivers”. </a:t>
              </a:r>
            </a:p>
            <a:p>
              <a:endParaRPr lang="en-US">
                <a:latin typeface="+mn-lt"/>
              </a:endParaRPr>
            </a:p>
            <a:p>
              <a:r>
                <a:rPr lang="en-US">
                  <a:latin typeface="+mn-lt"/>
                </a:rPr>
                <a:t>The msg brand is dedicated to fostering entrepreneurship and </a:t>
              </a:r>
              <a:br>
                <a:rPr lang="en-US">
                  <a:latin typeface="+mn-lt"/>
                </a:rPr>
              </a:br>
              <a:r>
                <a:rPr lang="en-US">
                  <a:latin typeface="+mn-lt"/>
                </a:rPr>
                <a:t>is driven by long-term sustainability rather than quarterly figures. </a:t>
              </a:r>
            </a:p>
            <a:p>
              <a:endParaRPr lang="en-US">
                <a:latin typeface="+mn-lt"/>
              </a:endParaRPr>
            </a:p>
          </p:txBody>
        </p:sp>
        <p:pic>
          <p:nvPicPr>
            <p:cNvPr id="7" name="Grafik 6">
              <a:extLst>
                <a:ext uri="{FF2B5EF4-FFF2-40B4-BE49-F238E27FC236}">
                  <a16:creationId xmlns:a16="http://schemas.microsoft.com/office/drawing/2014/main" id="{5C2850DB-DBC0-BC4F-7D3C-BC629355D0B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312" b="-1312"/>
            <a:stretch/>
          </p:blipFill>
          <p:spPr>
            <a:xfrm>
              <a:off x="542926" y="1916589"/>
              <a:ext cx="5020366" cy="1406919"/>
            </a:xfrm>
            <a:prstGeom prst="rect">
              <a:avLst/>
            </a:prstGeom>
          </p:spPr>
        </p:pic>
      </p:grpSp>
    </p:spTree>
    <p:extLst>
      <p:ext uri="{BB962C8B-B14F-4D97-AF65-F5344CB8AC3E}">
        <p14:creationId xmlns:p14="http://schemas.microsoft.com/office/powerpoint/2010/main" val="82035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50" fill="hold"/>
                                        <p:tgtEl>
                                          <p:spTgt spid="4"/>
                                        </p:tgtEl>
                                        <p:attrNameLst>
                                          <p:attrName>ppt_x</p:attrName>
                                        </p:attrNameLst>
                                      </p:cBhvr>
                                      <p:tavLst>
                                        <p:tav tm="0">
                                          <p:val>
                                            <p:strVal val="0-#ppt_w/2"/>
                                          </p:val>
                                        </p:tav>
                                        <p:tav tm="100000">
                                          <p:val>
                                            <p:strVal val="#ppt_x"/>
                                          </p:val>
                                        </p:tav>
                                      </p:tavLst>
                                    </p:anim>
                                    <p:anim calcmode="lin" valueType="num">
                                      <p:cBhvr additive="base">
                                        <p:cTn id="8" dur="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6DJhYOrcBDo12qCbItFkoEAAAAAAADAAAAAAADAAAAAwADAAIA////////BQAAAAMAEAALMbm1db74Nk6j5lrC47n9VAQAAAABAAMAAAACAAMAAAAEAAMAAAAAAAMAAAAEAAQAAgD///////8FAAAABAAQAAuZXjWDoz7iTaf5Fbbady4w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oMmFg6twEOjXaoJsi0WSgNEYXRhABsAAAAETGlua2VkU2hhcGVEYXRhAAUAAAAAAAJOYW1lABkAAABMaW5rZWRTaGFwZXNEYXRhUHJvcGVydHkAEFZlcnNpb24AAAAAAAlMYXN0V3JpdGUA0toqEpYBAAAAAQD/////xgDGAAAABV9pZAAQAAAABDG5tXW++DZOo+ZawuO5/VQDRGF0YQBTAAAACFByZXNlbnRhdGlvblNjYW5uZWRGb3JMaW5rZWRTaGFwZXMAAAJOdW1iZXJGb3JtYXRTZXBhcmF0b3JNb2RlAAoAAABBdXRvbWF0aWMAAAJOYW1lACQAAABMaW5rZWRTaGFwZVByZXNlbnRhdGlvblNldHRpbmdzRGF0YQAQVmVyc2lvbgAAAAAACUxhc3RXcml0ZQDa2ioSlgEAAAACAP////+DAIMAAAAFX2lkABAAAAAEmV41g6M+4k2n+RW22ncuMANEYXRhABsAAAAETGlua2VkU2hhcGVEYXRhAAUAAAAAAAJOYW1lABkAAABMaW5rZWRTaGFwZXNEYXRhUHJvcGVydHkAEFZlcnNpb24AAQAAAAlMYXN0V3JpdGUA2toqEp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BAD///////////////////////////////////////////////////////////////////////////////////////////////////////////////////////////////////////////////////////////////////////////////////////////////////////////////////////////////////////////////////////////////////////////////////////////////////////////////////////////////////////////////////////////////////////////////////////////////////////////////////////////////////////////////////////////////////////////////////////////////////////////////////////8CAAEBAwAAAAIA////////GgAGTGlua2VkU2hhcGVzRGF0YVByb3BlcnR5XzAEAAAAAAAFAAAAAwAFAAAABAADAAIBAwAAAAMA////////JQAGTGlua2VkU2hhcGVQcmVzZW50YXRpb25TZXR0aW5nc0RhdGFfMAQAAAABAAUAAAAAAAUAAAACAAUAAAAAAAUAAAAEAAQAAgEDAAAABAD///////8aAAZMaW5rZWRTaGFwZXNEYXRhUHJvcGVydHlfMQQAAAACAAUAAAACAAUAAAABAAUAAAAD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796583206550582"/>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10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3d6549e6-8c06-4a6b-bc47-8c55ce0fa5e1"/>
</p:tagLst>
</file>

<file path=ppt/tags/tag1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2f91bdf9-a93e-4046-9fb7-158b2c6c0223"/>
</p:tagLst>
</file>

<file path=ppt/tags/tag1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020e4eba-013f-499b-9743-5aacb2665b53"/>
</p:tagLst>
</file>

<file path=ppt/tags/tag1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ad0f3414-a240-4247-a7f6-9192feb4f6fc"/>
</p:tagLst>
</file>

<file path=ppt/tags/tag1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1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f97acecf-21dc-45e4-9374-600105b7ce3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0f3684a-ef51-4c8a-8348-8427f5a28789"/>
</p:tagLst>
</file>

<file path=ppt/tags/tag1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9d2c9028-6318-4382-90f5-f394ccf9b9f0"/>
</p:tagLst>
</file>

<file path=ppt/tags/tag1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b7418064-9bb6-4dc1-9c64-ea612aa93c70"/>
</p:tagLst>
</file>

<file path=ppt/tags/tag1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9807c288-6161-4051-94c0-da56c358c419"/>
</p:tagLst>
</file>

<file path=ppt/tags/tag1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1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f97acecf-21dc-45e4-9374-600105b7ce3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0f3684a-ef51-4c8a-8348-8427f5a28789"/>
</p:tagLst>
</file>

<file path=ppt/tags/tag1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9d2c9028-6318-4382-90f5-f394ccf9b9f0"/>
</p:tagLst>
</file>

<file path=ppt/tags/tag1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1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bd7ee907-4c3d-44dc-a540-034aff206d0b"/>
</p:tagLst>
</file>

<file path=ppt/tags/tag1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b0f3684a-ef51-4c8a-8348-8427f5a28789"/>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62620526-3735-44ec-a140-17e654f8c1e8"/>
</p:tagLst>
</file>

<file path=ppt/tags/tag1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4d28f04e-1f77-4806-836d-853dc796c468"/>
</p:tagLst>
</file>

<file path=ppt/tags/tag1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56dcc3c7-1749-40fd-af45-33ab97312fd3"/>
</p:tagLst>
</file>

<file path=ppt/tags/tag1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1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ab1694a0-358f-493d-9e6a-321e61787211"/>
</p:tagLst>
</file>

<file path=ppt/tags/tag1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77e54842-afb6-447c-816c-e84a2e013bd7"/>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cf82bb34-38a8-4232-b2db-fbc9184fcd27"/>
</p:tagLst>
</file>

<file path=ppt/tags/tag1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28e6eb95-59b6-4c03-b808-02293c23f6f8"/>
</p:tagLst>
</file>

<file path=ppt/tags/tag1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115871d8-2227-4e1e-be71-5087a7ac18a2"/>
</p:tagLst>
</file>

<file path=ppt/tags/tag1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25f6b94a-a793-40f1-8a61-93621effdcc6"/>
</p:tagLst>
</file>

<file path=ppt/tags/tag1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a14b0520-21f1-47e7-8b87-41b847b934dd"/>
</p:tagLst>
</file>

<file path=ppt/tags/tag1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ce1c10ba-0df0-475e-9294-2005b4e8da58"/>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12fd353e-1750-44ba-8623-5434274ca647"/>
</p:tagLst>
</file>

<file path=ppt/tags/tag16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496cbfba-3c23-4275-94c0-240930651992"/>
</p:tagLst>
</file>

<file path=ppt/tags/tag1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fd3556ae-29b6-4569-b749-487304b926c9"/>
</p:tagLst>
</file>

<file path=ppt/tags/tag1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b48c6c68-92ce-479f-b0f0-63d485a43a00"/>
</p:tagLst>
</file>

<file path=ppt/tags/tag1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7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84adb1da-2ff9-46f5-af9a-90e4255bf7db"/>
</p:tagLst>
</file>

<file path=ppt/tags/tag17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c7a348d8-9c56-4710-ae26-5b0997203367"/>
</p:tagLst>
</file>

<file path=ppt/tags/tag1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75544f30-9f30-4e8f-9bda-10f8e5528c5c"/>
</p:tagLst>
</file>

<file path=ppt/tags/tag1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7d2c8e15-17bd-49cf-a5ff-6b98474603da"/>
</p:tagLst>
</file>

<file path=ppt/tags/tag1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7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7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cf405e7a-fe85-43ba-aa7b-1d016d2b3ebc"/>
</p:tagLst>
</file>

<file path=ppt/tags/tag18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24740b9d-7fab-44b7-b547-970df551f579"/>
</p:tagLst>
</file>

<file path=ppt/tags/tag18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0e7b9ab0-cba6-4cf0-934e-a43b86e55f59"/>
</p:tagLst>
</file>

<file path=ppt/tags/tag18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26112d8c-55bd-4c53-88fd-1dbb11543cce"/>
</p:tagLst>
</file>

<file path=ppt/tags/tag18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8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8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8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8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18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c02c3e61-e732-4c5c-ace3-3024f5873778"/>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5863baa3-ab00-4013-a3d4-07861f4e9c4f"/>
</p:tagLst>
</file>

<file path=ppt/tags/tag19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3ad46b74-0790-4a32-9289-d74df7ccbb67"/>
</p:tagLst>
</file>

<file path=ppt/tags/tag19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67cd9724-5b2f-42f1-8e63-4bb8dab682e8"/>
</p:tagLst>
</file>

<file path=ppt/tags/tag19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19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19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19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19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19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19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0f1282dd-1e84-4f2f-aef5-165ad36c2e9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55a9fc0b-7343-4b5d-8a05-4afe4c4166bb"/>
</p:tagLst>
</file>

<file path=ppt/tags/tag20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cc246b0c-0b6b-4de3-915b-7f93bfdc130c"/>
</p:tagLst>
</file>

<file path=ppt/tags/tag20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2505ec12-aed2-4f6a-afe6-abd14ba7097c"/>
</p:tagLst>
</file>

<file path=ppt/tags/tag20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0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0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0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0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20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0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f0784733-a280-4213-8429-415d9524084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291816d6-b854-48cb-ad5a-192e4b564866"/>
</p:tagLst>
</file>

<file path=ppt/tags/tag2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c48271bd-8137-4a46-a2a2-ada83f85559e"/>
</p:tagLst>
</file>

<file path=ppt/tags/tag2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c7a7926d-91f0-4248-9701-666781a5f114"/>
</p:tagLst>
</file>

<file path=ppt/tags/tag2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BAD///////8DAAAABAD///////////////////////////////////////////////////////////////////////////////////////////////////////////////////////////////////////////////////////////////////////////////////////////////////////////////////////////////////////////////////////////////////////////////////////////////////////////////////////////////////////////////////////////////////////////////////////////////////////////////////////////////////////////////////////////////////////////////8BACAA////////////////AAAO////////AwAAAAMA////////////////////////////////////////////////////////////////////////////////////////////////////////////////////////////////////////////////////////////////////////////////////////////////////////////////////////////////////////////////////////////////////////////////////////////////////////////////////////////////////////////////////////////////////////////////////////////////////////////////////////////////////////////////////////////////////////////////////////////////////////////////////////AgABAP///////wUAAAACABAACx2VP1QfR5dEooZ4TW741dMEAAAAAAADAAAAAAADAAAABAADAAMA////////BQAAAAMAEAALcpFM/Xy+v0+Q8MB+JfdtLgQAAAABAAMAAAAEAAMAAAABAAMAAAAEAP///////wMAAAAEAP///////wQAAwD///////8FAAAABAAQAAt+9Xnded7HTL2WrFsO4Te9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U/VB9Hl0SihnhNbvjV0wREYXRhAAUAAAAAAk5hbWUADQAAAExpbmtEYXRhTGlzdAAQVmVyc2lvbgABAAAACUxhc3RXcml0ZQDgbNsnlwEAAAABAP////9hAGEAAAAFX2lkABAAAAAEcpFM/Xy+v0+Q8MB+JfdtLgREYXRhAAUAAAAAAk5hbWUADQAAAExpbmtEYXRhTGlzdAAQVmVyc2lvbgAAAAAACUxhc3RXcml0ZQC6bNsnlwEAAAACAP////9wAHAAAAAFX2lkABAAAAAEfvV53Xnex0y9lqxbDuE3vQNEYXRhABYAAAACUGVyc29uYWxJZAABAAAAAAACTmFtZQALAAAAUGVyc29uYWxJZAAQVmVyc2lvbgAAAAAACUxhc3RXcml0ZQBqbdsn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43171813308206"/>
  <p:tag name="EMPOWERCHARTSPROPERTIES_B_LENGTH" val="24576"/>
  <p:tag name="DOWN_MIGRATION_INITIAL_LAYOUT_REQUIRED" val="9.2.99"/>
  <p:tag name="RUNTIME_ID" val="5e8e35d2-549c-418f-8e1e-54fee2248cf2"/>
</p:tagLst>
</file>

<file path=ppt/tags/tag2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7XhBa1ZNsxAkA4aav25jaMEAAAAAAADAAAABAADAAAAAwADAAEA////////BQAAAAMAEAALndKB1JoFH0Cj0wd6V5OhKAQAAAABAAMAAAACAAMAAAABAAQAAgD///////8FAAAABAAQAAsKr0Q1tF6rRoGWOMBKWkC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eEFrVk2zECQDhpq/bmNowREYXRhAAUAAAAAAk5hbWUADQAAAExpbmtEYXRhTGlzdAAQVmVyc2lvbgAAAAAACUxhc3RXcml0ZQDivDwSlgEAAAABAP////9hAGEAAAAFX2lkABAAAAAEndKB1JoFH0Cj0wd6V5OhKAREYXRhAAUAAAAAAk5hbWUADQAAAExpbmtEYXRhTGlzdAAQVmVyc2lvbgABAAAACUxhc3RXcml0ZQDivDwSlgEAAAACAP////9wAHAAAAAFX2lkABAAAAAECq9ENbReq0aBljjASlpAhQNEYXRhABYAAAACUGVyc29uYWxJZAABAAAAAAACTmFtZQALAAAAUGVyc29uYWxJZAAQVmVyc2lvbgAAAAAACUxhc3RXcml0ZQAJvTw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4926488048"/>
  <p:tag name="EMPOWERCHARTSPROPERTIES_B_LENGTH" val="24576"/>
  <p:tag name="DOWN_MIGRATION_INITIAL_LAYOUT_REQUIRED" val="9.2.99"/>
  <p:tag name="RUNTIME_ID" val="5e58a443-42dd-4c02-b7b9-f1812e2bedf5"/>
</p:tagLst>
</file>

<file path=ppt/tags/tag2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MA////////////////////////////////////////////////////////////////////////////////////////////////////////////////////////////////////////////////////////////////////////////////////////////////////////////////////////////////////////////////////////////////////////////////////////////////////////////////////////////////////////////////////////////////////////////////////////////////////////////////////////////////////////////////////////////////////////////////////////////////////////////////////////AgABAP///////wUAAAACABAAC/nql4FNQthHjbfu7jZJxcUEAAAAAAADAAAAAAADAAAABAADAAYA////////BQAAAAMAEAALGFxF/wrWuEWVE2M5m2F7VQQAAAABAAMAAAAEAAMAAAABAAMAAAAAAP///////wMAAAAAAP///////wMAAAAAAP///////wMAAAAAAP///////wMAAAAAAP///////wQAAQD///////8FAAAABAAQAAs6diW2GdQZSp3f8x9+zsD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qXgU1C2EeNt+7uNknFxQREYXRhAAUAAAAAAk5hbWUADQAAAExpbmtEYXRhTGlzdAAQVmVyc2lvbgAAAAAACUxhc3RXcml0ZQDPyD8SlgEAAAABAP////9hAGEAAAAFX2lkABAAAAAEGFxF/wrWuEWVE2M5m2F7VQREYXRhAAUAAAAAAk5hbWUADQAAAExpbmtEYXRhTGlzdAAQVmVyc2lvbgABAAAACUxhc3RXcml0ZQDfyD8SlgEAAAACAP////9wAHAAAAAFX2lkABAAAAAEOnYlthnUGUqd3/Mffs7A0QNEYXRhABYAAAACUGVyc29uYWxJZAABAAAAAAACTmFtZQALAAAAUGVyc29uYWxJZAAQVmVyc2lvbgAAAAAACUxhc3RXcml0ZQAO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3347083"/>
  <p:tag name="EMPOWERCHARTSPROPERTIES_B_LENGTH" val="24576"/>
  <p:tag name="DOWN_MIGRATION_INITIAL_LAYOUT_REQUIRED" val="9.2.99"/>
  <p:tag name="RUNTIME_ID" val="040dd76c-3727-4693-988e-754487768f3d"/>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aIzGW9/mJGoqKLa8OResgEAAAAAAADAAAABAADAAAAAwADAAAAAAD///////8DAAEA////////BQAAAAMAEAALBl4YxdGpskSnZ1Y9yeEdywQAAAABAAMAAAACAAMAAAABAAQAAQD///////8FAAAABAAQAAttFNsgEl75QblafxTydiQ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ojMZb3+Ykaiootrw5F6yAREYXRhAAUAAAAAAk5hbWUADQAAAExpbmtEYXRhTGlzdAAQVmVyc2lvbgAAAAAACUxhc3RXcml0ZQBOyT8SlgEAAAABAP////9hAGEAAAAFX2lkABAAAAAEBl4YxdGpskSnZ1Y9yeEdywREYXRhAAUAAAAAAk5hbWUADQAAAExpbmtEYXRhTGlzdAAQVmVyc2lvbgABAAAACUxhc3RXcml0ZQBOyT8SlgEAAAACAP////9wAHAAAAAFX2lkABAAAAAEbRTbIBJe+UG5Wn8U8nYkHQNEYXRhABYAAAACUGVyc29uYWxJZAABAAAAAAACTmFtZQALAAAAUGVyc29uYWxJZAAQVmVyc2lvbgAAAAAACUxhc3RXcml0ZQCE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4459101"/>
  <p:tag name="EMPOWERCHARTSPROPERTIES_B_LENGTH" val="24576"/>
  <p:tag name="DOWN_MIGRATION_INITIAL_LAYOUT_REQUIRED" val="9.2.99"/>
  <p:tag name="RUNTIME_ID" val="b6553dda-aafc-4143-a2d7-e5970f1b3fac"/>
</p:tagLst>
</file>

<file path=ppt/tags/tag2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95N6np8hPZPnG/v+GCed1wEAAAAAAADAAAAAAADAAAABAADAAAAAAD///////8DAAEA////////BQAAAAMAEAALZsU45veHM0SnswI1UC4yRAQAAAABAAMAAAAEAAMAAAABAAQAAQD///////8FAAAABAAQAAvE5kPhouaESKVAAcSlySz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k3qenyE9k+cb+/4YJ53XAREYXRhAAUAAAAAAk5hbWUADQAAAExpbmtEYXRhTGlzdAAQVmVyc2lvbgAAAAAACUxhc3RXcml0ZQDNyT8SlgEAAAABAP////9hAGEAAAAFX2lkABAAAAAEZsU45veHM0SnswI1UC4yRAREYXRhAAUAAAAAAk5hbWUADQAAAExpbmtEYXRhTGlzdAAQVmVyc2lvbgABAAAACUxhc3RXcml0ZQDNyT8SlgEAAAACAP////9wAHAAAAAFX2lkABAAAAAExOZD4aLmhEilQAHEpcks0gNEYXRhABYAAAACUGVyc29uYWxJZAABAAAAAAACTmFtZQALAAAAUGVyc29uYWxJZAAQVmVyc2lvbgAAAAAACUxhc3RXcml0ZQDtyT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5737361"/>
  <p:tag name="EMPOWERCHARTSPROPERTIES_B_LENGTH" val="24576"/>
  <p:tag name="DOWN_MIGRATION_INITIAL_LAYOUT_REQUIRED" val="9.2.99"/>
  <p:tag name="RUNTIME_ID" val="8814bee0-a49e-4628-9926-46edbd3b96f0"/>
</p:tagLst>
</file>

<file path=ppt/tags/tag2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wD///////8DAAAAAwD///////////////////////////////////////////////////////////////////////////////////////////////////////////////////////////////////////////////////////////////////////////////////////////////////////////////////////////////////////////////////////////////////////////////////////////////////////////////////////////////////////////////////////////////////////////////////////////////////////////////////////////////////////////////////////////////////////////////8BACAA////////////////AAAO////////AwAAAAQA////////////////////////////////////////////////////////////////////////////////////////////////////////////////////////////////////////////////////////////////////////////////////////////////////////////////////////////////////////////////////////////////////////////////////////////////////////////////////////////////////////////////////////////////////////////////////////////////////////////////////////////////////////////////////////////////////////////////////////////////////////////////////////AgABAP///////wUAAAACABAACwml1zc3WMJMp6rxgyc4mZkEAAAAAAADAAAAAAADAAAAAwADAAMA////////BQAAAAMAEAALLjLdgX/BQ0SCn44mGY/3wgQAAAABAAMAAAACAAMAAAAEAAMAAAAAAAMAAAAEAAMAAAAAAP///////wQAAgD///////8FAAAABAAQAAuca+zppF+ZR7n2YuNOuuSi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XXNzdYwkynqvGDJziZmQREYXRhAAUAAAAAAk5hbWUADQAAAExpbmtEYXRhTGlzdAAQVmVyc2lvbgAAAAAACUxhc3RXcml0ZQA9yj8SlgEAAAABAP////9hAGEAAAAFX2lkABAAAAAELjLdgX/BQ0SCn44mGY/3wgREYXRhAAUAAAAAAk5hbWUADQAAAExpbmtEYXRhTGlzdAAQVmVyc2lvbgABAAAACUxhc3RXcml0ZQBNyj8SlgEAAAACAP////9wAHAAAAAFX2lkABAAAAAEnGvs6aRfmUe59mLjTrrkogNEYXRhABYAAAACUGVyc29uYWxJZAABAAAAAAACTmFtZQALAAAAUGVyc29uYWxJZAAQVmVyc2lvbgAAAAAACUxhc3RXcml0ZQBz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7014599"/>
  <p:tag name="EMPOWERCHARTSPROPERTIES_B_LENGTH" val="24576"/>
  <p:tag name="DOWN_MIGRATION_INITIAL_LAYOUT_REQUIRED" val="9.2.99"/>
  <p:tag name="RUNTIME_ID" val="78df1eba-f8fb-4f8b-8048-7fc80a2baa8d"/>
</p:tagLst>
</file>

<file path=ppt/tags/tag2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9JNS3CqFONJrQhbO8FJOqAEAAAAAAADAAAAAAADAAAABAADAAIA////////BQAAAAMAEAALCl0/04AypkSpuJ6Nw/EH/wQAAAABAAMAAAAEAAMAAAABAAMAAAAEAP///////wQABQD///////8FAAAABAAQAAsih+ms4SQCR5qBY4S/YrqZ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k1LcKoU40mtCFs7wUk6oAREYXRhAAUAAAAAAk5hbWUADQAAAExpbmtEYXRhTGlzdAAQVmVyc2lvbgABAAAACUxhc3RXcml0ZQAsyz8SlgEAAAABAP////9hAGEAAAAFX2lkABAAAAAECl0/04AypkSpuJ6Nw/EH/wREYXRhAAUAAAAAAk5hbWUADQAAAExpbmtEYXRhTGlzdAAQVmVyc2lvbgAAAAAACUxhc3RXcml0ZQAsyz8SlgEAAAACAP////9wAHAAAAAFX2lkABAAAAAEIofprOEkAkeagWOEv2K6mQNEYXRhABYAAAACUGVyc29uYWxJZAABAAAAAAACTmFtZQALAAAAUGVyc29uYWxJZAAQVmVyc2lvbgAAAAAACUxhc3RXcml0ZQBL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9198453"/>
  <p:tag name="EMPOWERCHARTSPROPERTIES_B_LENGTH" val="24576"/>
  <p:tag name="DOWN_MIGRATION_INITIAL_LAYOUT_REQUIRED" val="9.2.99"/>
  <p:tag name="RUNTIME_ID" val="28d227ce-b904-40ff-bc9a-f954b9620cdc"/>
</p:tagLst>
</file>

<file path=ppt/tags/tag2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92ZU7LYFVDvpUxChHQaKcEAAAAAAADAAAAAAADAAAAAwADAAAAAAD///////8DAAEA////////BQAAAAMAEAALhjf10f3XnkCrQLDOpHQrIgQAAAABAAMAAAACAAMAAAAEAAQAAQD///////8FAAAABAAQAAuFBPPtqo/7S4zrG6eG2B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3ZlTstgVUO+lTEKEdBopwREYXRhAAUAAAAAAk5hbWUADQAAAExpbmtEYXRhTGlzdAAQVmVyc2lvbgAAAAAACUxhc3RXcml0ZQCLyz8SlgEAAAABAP////9hAGEAAAAFX2lkABAAAAAEhjf10f3XnkCrQLDOpHQrIgREYXRhAAUAAAAAAk5hbWUADQAAAExpbmtEYXRhTGlzdAAQVmVyc2lvbgABAAAACUxhc3RXcml0ZQCLyz8SlgEAAAACAP////9wAHAAAAAFX2lkABAAAAAEhQTz7aqP+0uM6xunhtgXWANEYXRhABYAAAACUGVyc29uYWxJZAABAAAAAAACTmFtZQALAAAAUGVyc29uYWxJZAAQVmVyc2lvbgAAAAAACUxhc3RXcml0ZQC7yz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0187425"/>
  <p:tag name="EMPOWERCHARTSPROPERTIES_B_LENGTH" val="24576"/>
  <p:tag name="DOWN_MIGRATION_INITIAL_LAYOUT_REQUIRED" val="9.2.99"/>
  <p:tag name="RUNTIME_ID" val="2b8bb6ad-c930-4cf1-af16-8e0c96b6f74c"/>
</p:tagLst>
</file>

<file path=ppt/tags/tag2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wD///////////////////////////////////////////////////////////////////////////////////////////////////////////////////////////////////////////////////////////////////////////////////////////////////////////////////////////////////////////////////////////////////////////////////////////////////////////////////////////////////////////////////////////////////////////////////////////////////////////////////////////////////////////////////////////////////////////////8BACAA////////////////AAAO////////AwAAAAMA////////////////////////////////////////////////////////////////////////////////////////////////////////////////////////////////////////////////////////////////////////////////////////////////////////////////////////////////////////////////////////////////////////////////////////////////////////////////////////////////////////////////////////////////////////////////////////////////////////////////////////////////////////////////////////////////////////////////////////////////////////////////////////AgACAP///////wUAAAACABAACyVdtgvCTY5EuY0bDlr5qPEEAAAAAAADAAAAAAADAAAABAADAAAAAAADAAAABAADAAMA////////BQAAAAMAEAALst9X9RK+CEOENhxYYMsaRQQAAAABAAMAAAAEAAMAAAABAAMAAAAEAP///////wMAAAAAAP///////wQAAgD///////8FAAAABAAQAAt8uR6aBpLkQKiU4ZcmRcF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V22C8JNjkS5jRsOWvmo8QREYXRhAAUAAAAAAk5hbWUADQAAAExpbmtEYXRhTGlzdAAQVmVyc2lvbgABAAAACUxhc3RXcml0ZQD6yz8SlgEAAAABAP////9hAGEAAAAFX2lkABAAAAAEst9X9RK+CEOENhxYYMsaRQREYXRhAAUAAAAAAk5hbWUADQAAAExpbmtEYXRhTGlzdAAQVmVyc2lvbgAAAAAACUxhc3RXcml0ZQD6yz8SlgEAAAACAP////9wAHAAAAAFX2lkABAAAAAEfLkemgaS5EColOGXJkXBYwNEYXRhABYAAAACUGVyc29uYWxJZAABAAAAAAACTmFtZQALAAAAUGVyc29uYWxJZAAQVmVyc2lvbgAAAAAACUxhc3RXcml0ZQAazD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31298274"/>
  <p:tag name="EMPOWERCHARTSPROPERTIES_B_LENGTH" val="24576"/>
  <p:tag name="DOWN_MIGRATION_INITIAL_LAYOUT_REQUIRED" val="9.2.99"/>
  <p:tag name="RUNTIME_ID" val="85280544-922a-4263-8a2a-cfbbe67eee31"/>
</p:tagLst>
</file>

<file path=ppt/tags/tag2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zdmPa/gcYZIum8fzcjQZgQEAAAAAAADAAAABAADAAAAAwADAAEA////////BQAAAAMAEAALJf+j44nGrEGcpypbGMhkSAQAAAABAAMAAAACAAMAAAABAAQAAQD///////8FAAAABAAQAAuUCsKUL1AjSrHtg7GvyrX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2Y9r+Bxhki6bx/NyNBmBAREYXRhAAUAAAAAAk5hbWUADQAAAExpbmtEYXRhTGlzdAAQVmVyc2lvbgABAAAACUxhc3RXcml0ZQC9yj8SlgEAAAABAP////9hAGEAAAAFX2lkABAAAAAEJf+j44nGrEGcpypbGMhkSAREYXRhAAUAAAAAAk5hbWUADQAAAExpbmtEYXRhTGlzdAAQVmVyc2lvbgAAAAAACUxhc3RXcml0ZQC9yj8SlgEAAAACAP////9wAHAAAAAFX2lkABAAAAAElArClC9QI0qx7YOxr8q1zgNEYXRhABYAAAACUGVyc29uYWxJZAABAAAAAAACTmFtZQALAAAAUGVyc29uYWxJZAAQVmVyc2lvbgAAAAAACUxhc3RXcml0ZQDdyj8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796596928126951"/>
  <p:tag name="EMPOWERCHARTSPROPERTIES_B_LENGTH" val="24576"/>
  <p:tag name="DOWN_MIGRATION_INITIAL_LAYOUT_REQUIRED" val="9.2.99"/>
  <p:tag name="RUNTIME_ID" val="adec6fb2-3159-4a69-ab89-cb068f0be7b3"/>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wV6jgKCTn9LhrPlR6asg5gEAAAAAAADAAAAAAADAAAABAADAAIA////////BQAAAAMAEAALMqxh+sxxOkC0DvLM1rKEIAQAAAABAAMAAAAEAAMAAAABAAMAAAAAAP///////wQAAQD///////8FAAAABAAQAAvdGPiI3e9EQICq+zjEVLYq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XqOAoJOf0uGs+VHpqyDmAREYXRhAAUAAAAAAk5hbWUADQAAAExpbmtEYXRhTGlzdAAQVmVyc2lvbgAAAAAACUxhc3RXcml0ZQDyvNaqlwEAAAABAP////9hAGEAAAAFX2lkABAAAAAEMqxh+sxxOkC0DvLM1rKEIAREYXRhAAUAAAAAAk5hbWUADQAAAExpbmtEYXRhTGlzdAAQVmVyc2lvbgABAAAACUxhc3RXcml0ZQAXvdaqlwEAAAACAP////9wAHAAAAAFX2lkABAAAAAE3Rj4iN3vRECAqvs4xFS2KgNEYXRhABYAAAACUGVyc29uYWxJZAABAAAAAAACTmFtZQALAAAAUGVyc29uYWxJZAAQVmVyc2lvbgAAAAAACUxhc3RXcml0ZQCPvt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897348246"/>
  <p:tag name="EMPOWERCHARTSPROPERTIES_B_LENGTH" val="24576"/>
  <p:tag name="DOWN_MIGRATION_INITIAL_LAYOUT_REQUIRED" val="9.2.99"/>
  <p:tag name="RUNTIME_ID" val="661da84c-add5-4df4-8586-0642863747ec"/>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BAD///////////////////////////////////////////////////////////////////////////////////////////////////////////////////////////////////////////////////////////////////////////////////////////////////////////////////////////////////////////////////////////////////////////////////////////////////////////////////////////////////////////////////////////////////////////////////////////////////////////////////////////////////////////////////////////////////////////////////////////////8BACAA////////////////AAAO////////AwAAAAMA////////////////////////////////////////////////////////////////////////////////////////////////////////////////////////////////////////////////////////////////////////////////////////////////////////////////////////////////////////////////////////////////////////////////////////////////////////////////////////////////////////////////////////////////////////////////////////////////////////////////////////////////////////////////////////////////////////////////////////////////////////////////////////AgABAP///////wUAAAACABAACzS2nUEcXMZJh/nnXPt6/QAEAAAAAAADAAAABAADAAAAAwADAAEA////////BQAAAAMAEAALI5/G29mp5EK/1+1FzJJqeQQAAAABAAMAAAACAAMAAAABAAQAAgD///////8FAAAABAAQAAtQTIUpxRgTS5GiT6S2dNmF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LadQRxcxkmH+edc+3r9AAREYXRhAAUAAAAAAk5hbWUADQAAAExpbmtEYXRhTGlzdAAQVmVyc2lvbgAAAAAACUxhc3RXcml0ZQCDv9aqlwEAAAABAP////9hAGEAAAAFX2lkABAAAAAEI5/G29mp5EK/1+1FzJJqeQREYXRhAAUAAAAAAk5hbWUADQAAAExpbmtEYXRhTGlzdAAQVmVyc2lvbgABAAAACUxhc3RXcml0ZQCGv9aqlwEAAAACAP////9wAHAAAAAFX2lkABAAAAAEUEyFKcUYE0uRok+ktnTZhQNEYXRhABYAAAACUGVyc29uYWxJZAABAAAAAAACTmFtZQALAAAAUGVyc29uYWxJZAAQVmVyc2lvbgAAAAAACUxhc3RXcml0ZQDTv9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DAP///////////////////////////////////////////////////////////////////////////////////////////////////////////////////////////////////////////////////////////////////////////////////////////////////////////////////////////////////////////////////////////////////////////////////////////////////////////////////////////////////////////////////////////////////////////////////////////////////////////////////////////////////////////////////////////////////////////////wEAIAH///////////////8AAA7///////8FAAAABAD///////////////////////////////////////////////////////////////////////////////////////////////////////////////////////////////////////////////////////////////////////////////////////////////////////////////////////////////////////////////////////////////////////////////////////////////////////////////////////////////////////////////////////////////////////////////////////////////////////////////////////////////////////////////////////////////////////////////////////////////////////////////////////8CAAIBAwAAAAIA////////DgAGTGlua0RhdGFMaXN0XzAEAAAAAAAFAAAAAAAFAAAAAwAFAAAAAAAFAAAAAwADAAMBAwAAAAMA////////DgAGTGlua0RhdGFMaXN0XzEEAAAAAQAFAAAAAgAFAAAABAAFAAAAAgAFAAAABAA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02066021"/>
  <p:tag name="EMPOWERCHARTSPROPERTIES_B_LENGTH" val="24576"/>
  <p:tag name="DOWN_MIGRATION_INITIAL_LAYOUT_REQUIRED" val="9.2.99"/>
  <p:tag name="RUNTIME_ID" val="c3160110-29d5-4c2e-bd7d-ff8583b4b20c"/>
</p:tagLst>
</file>

<file path=ppt/tags/tag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MA////////////////////////////////////////////////////////////////////////////////////////////////////////////////////////////////////////////////////////////////////////////////////////////////////////////////////////////////////////////////////////////////////////////////////////////////////////////////////////////////////////////////////////////////////////////////////////////////////////////////////////////////////////////////////////////////////////////////////////////////////////////////////////AgACAP///////wUAAAACABAAC68T5R8okH1Ci1pK9PlY09oEAAAAAAADAAAAAAADAAAABAADAAAAAAADAAAABAADAAIA////////BQAAAAMAEAALl8PDeNm3qEKIOdHMGfnqxwQAAAABAAMAAAAEAAMAAAABAAMAAAAEAP///////wQAAgD///////8FAAAABAAQAAuegrxY5XgyR4d2HcygsHxk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xPlHyiQfUKLWkr0+VjT2gREYXRhAAUAAAAAAk5hbWUADQAAAExpbmtEYXRhTGlzdAAQVmVyc2lvbgAAAAAACUxhc3RXcml0ZQDIwNaqlwEAAAABAP////9hAGEAAAAFX2lkABAAAAAEl8PDeNm3qEKIOdHMGfnqxwREYXRhAAUAAAAAAk5hbWUADQAAAExpbmtEYXRhTGlzdAAQVmVyc2lvbgABAAAACUxhc3RXcml0ZQAFwdaqlwEAAAACAP////9wAHAAAAAFX2lkABAAAAAEnoK8WOV4MkeHdh3MoLB8ZANEYXRhABYAAAACUGVyc29uYWxJZAABAAAAAAACTmFtZQALAAAAUGVyc29uYWxJZAAQVmVyc2lvbgAAAAAACUxhc3RXcml0ZQBDwd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04186813"/>
  <p:tag name="EMPOWERCHARTSPROPERTIES_B_LENGTH" val="24576"/>
  <p:tag name="DOWN_MIGRATION_INITIAL_LAYOUT_REQUIRED" val="9.2.99"/>
  <p:tag name="RUNTIME_ID" val="48860887-f4b5-423a-9764-74bbab02b5b2"/>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zgsAAAAAAAAAAAAAIAD///////////////8AAAD///////////////8DAAAAAgD///////8DAAAAAgD///////8DAAAAAgD///////////////////////////////////////////////////////////////////////////////////////////////////////////////////////////////////////////////////////////////////////////////////////////////////////////////////////////////////////////////////////////////////////////////////////////////////////////////////////////////////////////////////////////////////////////////////////////////////////////////////////////////////////////////////////////////////////////////8BACAA////////////////AAAO////////AwAAAAQA////////////////////////////////////////////////////////////////////////////////////////////////////////////////////////////////////////////////////////////////////////////////////////////////////////////////////////////////////////////////////////////////////////////////////////////////////////////////////////////////////////////////////////////////////////////////////////////////////////////////////////////////////////////////////////////////////////////////////////////////////////////////////////AgADAP///////wUAAAACABAACxztG0xtdnlAu6GdgfbijDMEAAAAAAADAAAAAAADAAAAAwADAAAAAAADAAAAAwADAAAAAAADAAAAAwADAAMA////////BQAAAAMAEAALlNxKnJW1/0+SMN0euxGPawQAAAABAAMAAAACAAMAAAAEAAMAAAACAAMAAAAEAAMAAAACAAMAAAAEAAQAAwD///////8FAAAABAAQAAvABSjHSTZfR6pqUp9tWifwBAAAAAIAAwAAAAMAAwAAAAE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O0bTG12eUC7oZ2B9uKMMwREYXRhAAUAAAAAAk5hbWUADQAAAExpbmtEYXRhTGlzdAAQVmVyc2lvbgAAAAAACUxhc3RXcml0ZQCrwdaqlwEAAAABAP////9hAGEAAAAFX2lkABAAAAAElNxKnJW1/0+SMN0euxGPawREYXRhAAUAAAAAAk5hbWUADQAAAExpbmtEYXRhTGlzdAAQVmVyc2lvbgABAAAACUxhc3RXcml0ZQCswdaqlwEAAAACAP////9wAHAAAAAFX2lkABAAAAAEwAUox0k2X0eqalKfbVon8ANEYXRhABYAAAACUGVyc29uYWxJZAABAAAAAAACTmFtZQALAAAAUGVyc29uYWxJZAAQVmVyc2lvbgAAAAAACUxhc3RXcml0ZQDtwd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AwAFAAAAAAAFAAAAAwADAAMBAwAAAAMA////////DgAGTGlua0RhdGFMaXN0XzEEAAAAAQAFAAAAAgAFAAAABAAFAAAAAgD///////8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05904415"/>
  <p:tag name="EMPOWERCHARTSPROPERTIES_B_LENGTH" val="24576"/>
  <p:tag name="DOWN_MIGRATION_INITIAL_LAYOUT_REQUIRED" val="9.2.99"/>
  <p:tag name="RUNTIME_ID" val="177f5466-39aa-463a-a3ff-4bee38b76555"/>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gBAQEBAQEBAQEBAQEBAQMAAAAAAAAAAwAAAAMAAAAA/////wUA8gsAAAAAAAAAAAAAIAD///////////////8AAAD///////////////8DAAAAAgD///////8DAAAAAwD///////8DAAAAAwD///////////////////////////////////////////////////////////////////////////////////////////////////////////////////////////////////////////////////////////////////////////////////////////////////////////////////////////////////////////////////////////////////////////////////////////////////////////////////////////////////////////////////////////////////////////////////////////////////////////////////////////////////////////////////////////////////////////////8BACAA////////////////AAAO////////AwAAAAQA////////////////////////////////////////////////////////////////////////////////////////////////////////////////////////////////////////////////////////////////////////////////////////////////////////////////////////////////////////////////////////////////////////////////////////////////////////////////////////////////////////////////////////////////////////////////////////////////////////////////////////////////////////////////////////////////////////////////////////////////////////////////////////AgABAP///////wUAAAACABAACzzc6BS45RhEtZiXx1XbLjkEAAAAAAADAAAAAAADAAAAAwADAAMA////////BQAAAAMAEAALn/OrzqP7zEu4Qc7/dazHQAQAAAABAAMAAAACAAMAAAAEAAMAAAAAAAMAAAAEAAMAAAAAAP///////wQAAgD///////8FAAAABAAQAAt+JZ/q8TLaSYvfss0D7qmT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NzoFLjlGES1mJfHVdsuOQREYXRhAAUAAAAAAk5hbWUADQAAAExpbmtEYXRhTGlzdAAQVmVyc2lvbgAAAAAACUxhc3RXcml0ZQBAwtaqlwEAAAABAP////9hAGEAAAAFX2lkABAAAAAEn/OrzqP7zEu4Qc7/dazHQAREYXRhAAUAAAAAAk5hbWUADQAAAExpbmtEYXRhTGlzdAAQVmVyc2lvbgABAAAACUxhc3RXcml0ZQBDwtaqlwEAAAACAP////9wAHAAAAAFX2lkABAAAAAEfiWf6vEy2kmL37LNA+6pkwNEYXRhABYAAAACUGVyc29uYWxJZAABAAAAAAACTmFtZQALAAAAUGVyc29uYWxJZAAQVmVyc2lvbgAAAAAACUxhc3RXcml0ZQChwt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yCwAAAAAAAAAAAAAgAf///////////////wAAAP///////////////wUAAAACAP///////wUAAAADAP///////wUAAAADAP///////wUAAAAEAP///////wUAAAAEAP///////wUAAAAEAP///////wUAAAAEAP///////wUAAAAEAP///////////////////////////////////////////////////////////////////////////////////////////////////////////////////////////////////////////////////////////////////////////////////////////////////////////////////////////////////////////////////////////////////////////////////////////////////////////////////////////////////////////////////////////////////////////////////////////////wEAIAH///////////////8AAA7///////8FAAAABAD///////////////////////////////////////////////////////////////////////////////////////////////////////////////////////////////////////////////////////////////////////////////////////////////////////////////////////////////////////////////////////////////////////////////////////////////////////////////////////////////////////////////////////////////////////////////////////////////////////////////////////////////////////////////////////////////////////////////////////////////////////////////////////8CAAEBAwAAAAIA////////DgAGTGlua0RhdGFMaXN0XzAEAAAAAAAFAAAAAAAFAAAAAwADAAMBAwAAAAMA////////DgAGTGlua0RhdGFMaXN0XzEEAAAAAQAFAAAAAgAFAAAABAAFAAAAAAAFAAAABAAFAAAAAAAFAAAABAAEAAgBAwAAAAQA////////DAAGUGVyc29uYWxJZF8wBAAAAAIABQAAAAMABQAAAAEABQAAAAMA////////BQAAAAM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07773000"/>
  <p:tag name="EMPOWERCHARTSPROPERTIES_B_LENGTH" val="24576"/>
  <p:tag name="DOWN_MIGRATION_INITIAL_LAYOUT_REQUIRED" val="9.2.99"/>
  <p:tag name="RUNTIME_ID" val="f98d1f85-0014-4a8d-b409-e3b27bc735c5"/>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4dOF9F4E8tEl9GmBfb8IVkEAAAAAAADAAAABAADAAAAAwADAAAABAD///////8DAAAAAAD///////8DAAEA////////BQAAAAMAEAALdfr23CJi/E+flcayMljIjgQAAAABAAMAAAACAAMAAAABAAQAAgD///////8FAAAABAAQAAvgKpJQefEqRItoJGODTJyc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04X0XgTy0SX0aYF9vwhWQREYXRhAAUAAAAAAk5hbWUADQAAAExpbmtEYXRhTGlzdAAQVmVyc2lvbgABAAAACUxhc3RXcml0ZQAYw9aqlwEAAAABAP////9hAGEAAAAFX2lkABAAAAAEdfr23CJi/E+flcayMljIjgREYXRhAAUAAAAAAk5hbWUADQAAAExpbmtEYXRhTGlzdAAQVmVyc2lvbgAAAAAACUxhc3RXcml0ZQD+wtaqlwEAAAACAP////9wAHAAAAAFX2lkABAAAAAE4CqSUHnxKkSLaCRjg0ycnANEYXRhABYAAAACUGVyc29uYWxJZAABAAAAAAACTmFtZQALAAAAUGVyc29uYWxJZAAQVmVyc2lvbgAAAAAACUxhc3RXcml0ZQBNw9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09441065"/>
  <p:tag name="EMPOWERCHARTSPROPERTIES_B_LENGTH" val="24576"/>
  <p:tag name="DOWN_MIGRATION_INITIAL_LAYOUT_REQUIRED" val="9.2.99"/>
  <p:tag name="RUNTIME_ID" val="7322e1a3-6cd2-4843-a662-83e745e851fd"/>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CAP///////wUAAAACABAAC3NTCCUHuoNIpQVgs3acvBUEAAAAAAADAAAABAADAAAAAwADAAAABAD///////8DAAEA////////BQAAAAMAEAALqwS58DLxIE2G1KgDw2kDtwQAAAABAAMAAAACAAMAAAABAAQAAgD///////8FAAAABAAQAAtjbIcShb0GQ6jFuZqxt525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1MIJQe6g0ilBWCzdpy8FQREYXRhAAUAAAAAAk5hbWUADQAAAExpbmtEYXRhTGlzdAAQVmVyc2lvbgABAAAACUxhc3RXcml0ZQDFw9aqlwEAAAABAP////9hAGEAAAAFX2lkABAAAAAEqwS58DLxIE2G1KgDw2kDtwREYXRhAAUAAAAAAk5hbWUADQAAAExpbmtEYXRhTGlzdAAQVmVyc2lvbgAAAAAACUxhc3RXcml0ZQDFw9aqlwEAAAACAP////9wAHAAAAAFX2lkABAAAAAEY2yHEoW9BkOoxbmasbeduQNEYXRhABYAAAACUGVyc29uYWxJZAABAAAAAAACTmFtZQALAAAAUGVyc29uYWxJZAAQVmVyc2lvbgAAAAAACUxhc3RXcml0ZQDww9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EAIAH///////////////8AAA7///////8FAAAABAD///////////////////////////////////////////////////////////////////////////////////////////////////////////////////////////////////////////////////////////////////////////////////////////////////////////////////////////////////////////////////////////////////////////////////////////////////////////////////////////////////////////////////////////////////////////////////////////////////////////////////////////////////////////////////////////////////////////////////////////////////////////////////////8CAAIBAwAAAAIA////////DgAGTGlua0RhdGFMaXN0XzEEAAAAAAAFAAAAAwAFAAAABAAFAAAAAAAFAAAABAA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10984474"/>
  <p:tag name="EMPOWERCHARTSPROPERTIES_B_LENGTH" val="24576"/>
  <p:tag name="DOWN_MIGRATION_INITIAL_LAYOUT_REQUIRED" val="9.2.99"/>
  <p:tag name="RUNTIME_ID" val="43d761f3-391f-4918-92c9-dbc332568012"/>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gD///////////////////////////////////////////////////////////////////////////////////////////////////////////////////////////////////////////////////////////////////////////////////////////////////////////////////////////////////////////////////////////////////////////////////////////////////////////////////////////////////////////////////////////////////////////////////////////////////////////////////////////////////////////////////////////////////////////////////////////////8BACAA////////////////AAAO////////AwAAAAMA////////////////////////////////////////////////////////////////////////////////////////////////////////////////////////////////////////////////////////////////////////////////////////////////////////////////////////////////////////////////////////////////////////////////////////////////////////////////////////////////////////////////////////////////////////////////////////////////////////////////////////////////////////////////////////////////////////////////////////////////////////////////////////AgACAP///////wUAAAACABAAC9kgT+yC4JRAuq5N26bqRSQEAAAAAAADAAAABAADAAAAAwADAAAAAAD///////8DAAEA////////BQAAAAMAEAALRSY18OrQgUCX8orQ/MUN/gQAAAABAAMAAAACAAMAAAABAAQAAQD///////8FAAAABAAQAAuVp30Cqw9CQK6Xdq95xdT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2SBP7ILglEC6rk3bpupFJAREYXRhAAUAAAAAAk5hbWUADQAAAExpbmtEYXRhTGlzdAAQVmVyc2lvbgAAAAAACUxhc3RXcml0ZQD3xNaqlwEAAAABAP////9hAGEAAAAFX2lkABAAAAAERSY18OrQgUCX8orQ/MUN/gREYXRhAAUAAAAAAk5hbWUADQAAAExpbmtEYXRhTGlzdAAQVmVyc2lvbgABAAAACUxhc3RXcml0ZQASxdaqlwEAAAACAP////9wAHAAAAAFX2lkABAAAAAElad9AqsPQkCul3avecXU3QNEYXRhABYAAAACUGVyc29uYWxJZAABAAAAAAACTmFtZQALAAAAUGVyc29uYWxJZAAQVmVyc2lvbgAAAAAACUxhc3RXcml0ZQClxd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15438974"/>
  <p:tag name="EMPOWERCHARTSPROPERTIES_B_LENGTH" val="24576"/>
  <p:tag name="DOWN_MIGRATION_INITIAL_LAYOUT_REQUIRED" val="9.2.99"/>
  <p:tag name="RUNTIME_ID" val="7ff18b4a-889b-40c8-a66d-f85e6f8e9a2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MAAAAAAAAAAwAAAAMAAAAA/////wUAFgwAAAAAAAAAAAAAIAD///////////////8AAAD///////////////8DAAAABAD///////////////////////////////////////////////////////////////////////////////////////////////////////////////////////////////////////////////////////////////////////////////////////////////////////////////////////////////////////////////////////////////////////////////////////////////////////////////////////////////////////////////////////////////////////////////////////////////////////////////////////////////////////////////////////////////////////////////////////////////////////////////8BACAA////////////////AAAO////////AwAAAAMA////////////////////////////////////////////////////////////////////////////////////////////////////////////////////////////////////////////////////////////////////////////////////////////////////////////////////////////////////////////////////////////////////////////////////////////////////////////////////////////////////////////////////////////////////////////////////////////////////////////////////////////////////////////////////////////////////////////////////////////////////////////////////////AgABAP///////wUAAAACABAAC87En6W/9stAnO45qiAQP7wEAAAAAAADAAAABAADAAAAAwADAAEA////////BQAAAAMAEAAL7pOI9CGX00i4SHX/o+04zgQAAAABAAMAAAACAAMAAAABAAQAAQD///////8FAAAABAAQAAsa+pCMxtv1SJeJpiJcu8Qp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sSfpb/2y0Cc7jmqIBA/vAREYXRhAAUAAAAAAk5hbWUADQAAAExpbmtEYXRhTGlzdAAQVmVyc2lvbgAAAAAACUxhc3RXcml0ZQBUztaqlwEAAAABAP////9hAGEAAAAFX2lkABAAAAAE7pOI9CGX00i4SHX/o+04zgREYXRhAAUAAAAAAk5hbWUADQAAAExpbmtEYXRhTGlzdAAQVmVyc2lvbgABAAAACUxhc3RXcml0ZQBWztaqlwEAAAACAP////9wAHAAAAAFX2lkABAAAAAEGvqQjMbb9UiXiaYiXLvEKQNEYXRhABYAAAACUGVyc29uYWxJZAABAAAAAAACTmFtZQALAAAAUGVyc29uYWxJZAAQVmVyc2lvbgAAAAAACUxhc3RXcml0ZQCCzt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EAP///////wUAAAAEAP///////wUAAAAEAP///////wUAAAAEAP///////////////////////////////////////////////////////////////////////////////////////////////////////////////////////////////////////////////////////////////////////////////////////////////////////////////////////////////////////////////////////////////////////////////////////////////////////////////////////////////////////////////////////////////////////////////////////////////////////////////////////////////////////////////wEAIAH///////////////8AAA7///////8FAAAABAD///////////////////////////////////////////////////////////////////////////////////////////////////////////////////////////////////////////////////////////////////////////////////////////////////////////////////////////////////////////////////////////////////////////////////////////////////////////////////////////////////////////////////////////////////////////////////////////////////////////////////////////////////////////////////////////////////////////////////////////////////////////////////////8CAAEBAwAAAAIA////////DgAGTGlua0RhdGFMaXN0XzAEAAAAAAAFAAAAAAAFAAAAAwADAAEBAwAAAAMA////////DgAGTGlua0RhdGFMaXN0XzEEAAAAAQAFAAAAAgAFAAAABAAEAAUBAwAAAAQA////////DAAGUGVyc29uYWxJZF8wBAAAAAIABQAAAAMABQAAAAE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38074465"/>
  <p:tag name="EMPOWERCHARTSPROPERTIES_B_LENGTH" val="24576"/>
  <p:tag name="DOWN_MIGRATION_INITIAL_LAYOUT_REQUIRED" val="9.2.99"/>
  <p:tag name="RUNTIME_ID" val="de578ed7-988d-4a08-b816-9b417b77226b"/>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BAD///////8DAAAABAD///////8DAAAABAD///////////////////////////////////////////////////////////////////////////////////////////////////////////////////////////////////////////////////////////////////////////////////////////////////////////////////////////////////////////////////////////////////////////////////////////////////////////////////////////////////////////////////////////////////////////////////////////////////////////////////////////////////////////////////////////////////////////////8BACAA////////////////AAAO////////AwAAAAMA////////////////////////////////////////////////////////////////////////////////////////////////////////////////////////////////////////////////////////////////////////////////////////////////////////////////////////////////////////////////////////////////////////////////////////////////////////////////////////////////////////////////////////////////////////////////////////////////////////////////////////////////////////////////////////////////////////////////////////////////////////////////////////AgABAP///////wUAAAACABAAC33rq6HN9a5FiBc3L2HVA+oEAAAAAAADAAAABAADAAAAAwADAAEA////////BQAAAAMAEAALb1yK3ExLtkGPiZK91glMHwQAAAABAAMAAAACAAMAAAABAAQAAwD///////8FAAAABAAQAAvDakmSwO4TR5QZy7mwwRE0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euroc31rkWIFzcvYdUD6gREYXRhAAUAAAAAAk5hbWUADQAAAExpbmtEYXRhTGlzdAAQVmVyc2lvbgABAAAACUxhc3RXcml0ZQD0ztaqlwEAAAABAP////9hAGEAAAAFX2lkABAAAAAEb1yK3ExLtkGPiZK91glMHwREYXRhAAUAAAAAAk5hbWUADQAAAExpbmtEYXRhTGlzdAAQVmVyc2lvbgAAAAAACUxhc3RXcml0ZQDzztaqlwEAAAACAP////9wAHAAAAAFX2lkABAAAAAEw2pJksDuE0eUGcu5sMERNANEYXRhABYAAAACUGVyc29uYWxJZAABAAAAAAACTmFtZQALAAAAUGVyc29uYWxJZAAQVmVyc2lvbgAAAAAACUxhc3RXcml0ZQCsz9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41310461"/>
  <p:tag name="EMPOWERCHARTSPROPERTIES_B_LENGTH" val="24576"/>
  <p:tag name="DOWN_MIGRATION_INITIAL_LAYOUT_REQUIRED" val="9.2.99"/>
  <p:tag name="RUNTIME_ID" val="d53923c5-f306-4c28-995f-0bced992092d"/>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wUA8gsAAAAAAAAAAAAAIAD///////////////8AAAD///////////////8DAAAAAgD///////8DAAAABAD///////8DAAAABAD///////8DAAAABAD///////////////////////////////////////////////////////////////////////////////////////////////////////////////////////////////////////////////////////////////////////////////////////////////////////////////////////////////////////////////////////////////////////////////////////////////////////////////////////////////////////////////////////////////////////////////////////////////////////////////////////////////////////////////////////////////8BACAA////////////////AAAO////////AwAAAAMA////////////////////////////////////////////////////////////////////////////////////////////////////////////////////////////////////////////////////////////////////////////////////////////////////////////////////////////////////////////////////////////////////////////////////////////////////////////////////////////////////////////////////////////////////////////////////////////////////////////////////////////////////////////////////////////////////////////////////////////////////////////////////////AgABAP///////wUAAAACABAAC3H2lzDuEBJAtQdOmRswQpwEAAAAAAADAAAAAAADAAAABAADAAEA////////BQAAAAMAEAALlhqdr9vkXUyTn16174fdXQQAAAABAAMAAAAEAAMAAAABAAQABAD///////8FAAAABAAQAAv0HdOipwvPQIWPmBspdQ0dBAAAAAIAAwAAAAI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faXMO4QEkC1B06ZGzBCnAREYXRhAAUAAAAAAk5hbWUADQAAAExpbmtEYXRhTGlzdAAQVmVyc2lvbgABAAAACUxhc3RXcml0ZQAj0NaqlwEAAAABAP////9hAGEAAAAFX2lkABAAAAAElhqdr9vkXUyTn16174fdXQREYXRhAAUAAAAAAk5hbWUADQAAAExpbmtEYXRhTGlzdAAQVmVyc2lvbgAAAAAACUxhc3RXcml0ZQAi0NaqlwEAAAACAP////9wAHAAAAAFX2lkABAAAAAE9B3ToqcLz0CFj5gbKXUNHQNEYXRhABYAAAACUGVyc29uYWxJZAABAAAAAAACTmFtZQALAAAAUGVyc29uYWxJZAAQVmVyc2lvbgAAAAAACUxhc3RXcml0ZQB60N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43180770"/>
  <p:tag name="EMPOWERCHARTSPROPERTIES_B_LENGTH" val="24576"/>
  <p:tag name="DOWN_MIGRATION_INITIAL_LAYOUT_REQUIRED" val="9.2.99"/>
  <p:tag name="RUNTIME_ID" val="87235f65-9530-48be-a0ac-eb03e38d9226"/>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BAD///////8DAAAABAD///////8DAAAABAD///////8DAAAABAD///////8DAAAABAD///////8DAAAABAD///////8DAAAABAD///////////////////////////////////////////////////////////////////////////////////////////////////////////////////////////////////////////////////////////////////////////////////////////////////////////////////////////////////////////////////////////////////////////////////////////////////////////////////////////////////////////////////////////////////////////////////////////////////////////////8BACAA////////////////AAAO////////AwAAAAMA////////////////////////////////////////////////////////////////////////////////////////////////////////////////////////////////////////////////////////////////////////////////////////////////////////////////////////////////////////////////////////////////////////////////////////////////////////////////////////////////////////////////////////////////////////////////////////////////////////////////////////////////////////////////////////////////////////////////////////////////////////////////////////AgABAP///////wUAAAACABAACzQYkVn2FY9PoN9aVodu9YwEAAAAAAADAAAABAADAAAAAwADAAIA////////BQAAAAMAEAAL+JItXUQ+nkK0YYhNtY726wQAAAABAAMAAAACAAMAAAABAAMAAAAEAP///////wQABwD///////8FAAAABAAQAAtR+yMM90U8Rqem4HUJ3ZiMBAAAAAIAAwAAAAAAAwAAAAIAAwAAAAAAAwAAAAM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BiRWfYVj0+g31pWh271jAREYXRhAAUAAAAAAk5hbWUADQAAAExpbmtEYXRhTGlzdAAQVmVyc2lvbgAAAAAACUxhc3RXcml0ZQDT0NaqlwEAAAABAP////9hAGEAAAAFX2lkABAAAAAE+JItXUQ+nkK0YYhNtY726wREYXRhAAUAAAAAAk5hbWUADQAAAExpbmtEYXRhTGlzdAAQVmVyc2lvbgABAAAACUxhc3RXcml0ZQDU0NaqlwEAAAACAP////9wAHAAAAAFX2lkABAAAAAEUfsjDPdFPEanpuB1Cd2YjANEYXRhABYAAAACUGVyc29uYWxJZAABAAAAAAACTmFtZQALAAAAUGVyc29uYWxJZAAQVmVyc2lvbgAAAAAACUxhc3RXcml0ZQAD0d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44451838"/>
  <p:tag name="EMPOWERCHARTSPROPERTIES_B_LENGTH" val="24576"/>
  <p:tag name="DOWN_MIGRATION_INITIAL_LAYOUT_REQUIRED" val="9.2.99"/>
  <p:tag name="RUNTIME_ID" val="cbc4eb6b-12bf-491a-a78c-da3de931d1ae"/>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5gERC2/W9dBrJsjgt63n0IEAAAAAAADAAAAAAADAAAABAADAAEA////////BQAAAAMAEAALOJgHoQABZku4lOq9YdEL3AQAAAABAAMAAAAEAAMAAAABAAQAAQD///////8FAAAABAAQAAsSPZd163WJRJaqEVx0E9HM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ARELb9b10GsmyOC3refQgREYXRhAAUAAAAAAk5hbWUADQAAAExpbmtEYXRhTGlzdAAQVmVyc2lvbgAAAAAACUxhc3RXcml0ZQAF0taqlwEAAAABAP////9hAGEAAAAFX2lkABAAAAAEOJgHoQABZku4lOq9YdEL3AREYXRhAAUAAAAAAk5hbWUADQAAAExpbmtEYXRhTGlzdAAQVmVyc2lvbgABAAAACUxhc3RXcml0ZQAG0taqlwEAAAACAP////9wAHAAAAAFX2lkABAAAAAEEj2Xdet1iUSWqhFcdBPRzANEYXRhABYAAAACUGVyc29uYWxJZAABAAAAAAACTmFtZQALAAAAUGVyc29uYWxJZAAQVmVyc2lvbgAAAAAACUxhc3RXcml0ZQB20t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48381422"/>
  <p:tag name="EMPOWERCHARTSPROPERTIES_B_LENGTH" val="24576"/>
  <p:tag name="DOWN_MIGRATION_INITIAL_LAYOUT_REQUIRED" val="9.2.99"/>
  <p:tag name="RUNTIME_ID" val="8eac0b39-05ec-45d3-9975-6e6e91c1ef8a"/>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MA////////////////////////////////////////////////////////////////////////////////////////////////////////////////////////////////////////////////////////////////////////////////////////////////////////////////////////////////////////////////////////////////////////////////////////////////////////////////////////////////////////////////////////////////////////////////////////////////////////////////////////////////////////////////////////////////////////////////////////////////////////////////////////AgADAP///////wUAAAACABAAC8jTRzZkm3JOtYjWRZGud7EEAAAAAAADAAAAAAADAAAABAADAAAAAAD///////8DAAAAAAD///////8DAAEA////////BQAAAAMAEAALn/9y6lbRYE65tOE1QkB8dAQAAAABAAMAAAAEAAMAAAABAAQAAQD///////8FAAAABAAQAAvsT1tmjZ1OQ49pdYs0SPV+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NNHNmSbck61iNZFka53sQREYXRhAAUAAAAAAk5hbWUADQAAAExpbmtEYXRhTGlzdAAQVmVyc2lvbgABAAAACUxhc3RXcml0ZQB819aqlwEAAAABAP////9hAGEAAAAFX2lkABAAAAAEn/9y6lbRYE65tOE1QkB8dAREYXRhAAUAAAAAAk5hbWUADQAAAExpbmtEYXRhTGlzdAAQVmVyc2lvbgAAAAAACUxhc3RXcml0ZQB419aqlwEAAAACAP////9wAHAAAAAFX2lkABAAAAAE7E9bZo2dTkOPaXWLNEj1fgNEYXRhABYAAAACUGVyc29uYWxJZAABAAAAAAACTmFtZQALAAAAUGVyc29uYWxJZAAQVmVyc2lvbgAAAAAACUxhc3RXcml0ZQCx19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EAIAH///////////////8AAA7///////8FAAAABAD///////////////////////////////////////////////////////////////////////////////////////////////////////////////////////////////////////////////////////////////////////////////////////////////////////////////////////////////////////////////////////////////////////////////////////////////////////////////////////////////////////////////////////////////////////////////////////////////////////////////////////////////////////////////////////////////////////////////////////////////////////////////////////8CAAMBAwAAAAIA////////DgAGTGlua0RhdGFMaXN0XzEEAAAAAAAFAAAAAwAFAAAABAAFAAAAAAAFAAAABAAFAAAAAAAFAAAABAADAAEBAwAAAAMA////////DgAGTGlua0RhdGFMaXN0XzAEAAAAAQ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61581718"/>
  <p:tag name="EMPOWERCHARTSPROPERTIES_B_LENGTH" val="24576"/>
  <p:tag name="DOWN_MIGRATION_INITIAL_LAYOUT_REQUIRED" val="9.2.99"/>
  <p:tag name="RUNTIME_ID" val="9b432e17-27ac-4174-a0a0-9958d1de3584"/>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MA////////////////////////////////////////////////////////////////////////////////////////////////////////////////////////////////////////////////////////////////////////////////////////////////////////////////////////////////////////////////////////////////////////////////////////////////////////////////////////////////////////////////////////////////////////////////////////////////////////////////////////////////////////////////////////////////////////////////////////////////////////////////////////AgABAP///////wUAAAACABAACyF9UAgQY9RFlvv+woP3vIQEAAAAAAADAAAAAAADAAAABAADAAMA////////BQAAAAMAEAALiLAZaVZAy0OkoNSGhd1BagQAAAABAAMAAAAEAAMAAAABAAMAAAAAAP///////wMAAAAAAP///////wQAAQD///////8FAAAABAAQAAukwdYiiddKRZMw+5J5mQZ7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X1QCBBj1EWW+/7Cg/e8hAREYXRhAAUAAAAAAk5hbWUADQAAAExpbmtEYXRhTGlzdAAQVmVyc2lvbgABAAAACUxhc3RXcml0ZQD/19aqlwEAAAABAP////9hAGEAAAAFX2lkABAAAAAEiLAZaVZAy0OkoNSGhd1BagREYXRhAAUAAAAAAk5hbWUADQAAAExpbmtEYXRhTGlzdAAQVmVyc2lvbgAAAAAACUxhc3RXcml0ZQD+19aqlwEAAAACAP////9wAHAAAAAFX2lkABAAAAAEpMHWIonXSkWTMPuSeZkGewNEYXRhABYAAAACUGVyc29uYWxJZAABAAAAAAACTmFtZQALAAAAUGVyc29uYWxJZAAQVmVyc2lvbgAAAAAACUxhc3RXcml0ZQBA2N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EBAwAAAAIA////////DgAGTGlua0RhdGFMaXN0XzEEAAAAAAAFAAAAAwAFAAAABAADAAMBAwAAAAMA////////DgAGTGlua0RhdGFMaXN0XzAEAAAAAQAFAAAAAAAFAAAAAgAFAAAAAAAFAAAABAA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63003100"/>
  <p:tag name="EMPOWERCHARTSPROPERTIES_B_LENGTH" val="24576"/>
  <p:tag name="DOWN_MIGRATION_INITIAL_LAYOUT_REQUIRED" val="9.2.99"/>
  <p:tag name="RUNTIME_ID" val="37cbbc14-6b2f-468e-ba3c-dfa2cb7024a6"/>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CAP///////wUAAAACABAAC0Ez4V2I399Cno/2uFN+/YkEAAAAAAADAAAABAADAAAAAwADAAAABAD///////8DAAEA////////BQAAAAMAEAALflqUY+AFHkqW2KPclmiIEQQAAAABAAMAAAACAAMAAAABAAQAAgD///////8FAAAABAAQAAu/xfZU6TINS5qH7s9N8GoL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TPhXYjf30Kej/a4U379iQREYXRhAAUAAAAAAk5hbWUADQAAAExpbmtEYXRhTGlzdAAQVmVyc2lvbgABAAAACUxhc3RXcml0ZQCl2NaqlwEAAAABAP////9hAGEAAAAFX2lkABAAAAAEflqUY+AFHkqW2KPclmiIEQREYXRhAAUAAAAAAk5hbWUADQAAAExpbmtEYXRhTGlzdAAQVmVyc2lvbgAAAAAACUxhc3RXcml0ZQCg2NaqlwEAAAACAP////9wAHAAAAAFX2lkABAAAAAEv8X2VOkyDUuah+7PTfBqCwNEYXRhABYAAAACUGVyc29uYWxJZAABAAAAAAACTmFtZQALAAAAUGVyc29uYWxJZAAQVmVyc2lvbgAAAAAACUxhc3RXcml0ZQDZ2Na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EAIAH///////////////8AAA7///////8FAAAABAD///////////////////////////////////////////////////////////////////////////////////////////////////////////////////////////////////////////////////////////////////////////////////////////////////////////////////////////////////////////////////////////////////////////////////////////////////////////////////////////////////////////////////////////////////////////////////////////////////////////////////////////////////////////////////////////////////////////////////////////////////////////////////////8CAAIBAwAAAAIA////////DgAGTGlua0RhdGFMaXN0XzEEAAAAAAAFAAAAAwAFAAAABAAFAAAAAAAFAAAABAA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46964610147"/>
  <p:tag name="EMPOWERCHARTSPROPERTIES_B_LENGTH" val="24576"/>
  <p:tag name="DOWN_MIGRATION_INITIAL_LAYOUT_REQUIRED" val="9.2.99"/>
  <p:tag name="RUNTIME_ID" val="b3b4573f-0584-48fa-9656-9896325070b4"/>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QA////////////////////////////////////////////////////////////////////////////////////////////////////////////////////////////////////////////////////////////////////////////////////////////////////////////////////////////////////////////////////////////////////////////////////////////////////////////////////////////////////////////////////////////////////////////////////////////////////////////////////////////////////////////////////////////////////////////////////////////////////////////////////////AgACAP///////wUAAAACABAAC6DHGAwln3FIr8Bkawq2qy0EAAAAAAADAAAAAAADAAAAAwADAAAAAAADAAAAAwADAAIA////////BQAAAAMAEAALi5iQwoW9U0647EMNlm9DBAQAAAABAAMAAAACAAMAAAAEAAMAAAACAAMAAAAEAAQAAgD///////8FAAAABAAQAAu3zF7E9HBVT6HncCxNgYS0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McYDCWfcUivwGRrCrarLQREYXRhAAUAAAAAAk5hbWUADQAAAExpbmtEYXRhTGlzdAAQVmVyc2lvbgAAAAAACUxhc3RXcml0ZQD2m+IClwEAAAABAP////9hAGEAAAAFX2lkABAAAAAEi5iQwoW9U0647EMNlm9DBAREYXRhAAUAAAAAAk5hbWUADQAAAExpbmtEYXRhTGlzdAAQVmVyc2lvbgABAAAACUxhc3RXcml0ZQAWnOIClwEAAAACAP////9wAHAAAAAFX2lkABAAAAAEt8xexPRwVU+h53AsTYGEtANEYXRhABYAAAACUGVyc29uYWxJZAABAAAAAAACTmFtZQALAAAAUGVyc29uYWxJZAAQVmVyc2lvbgAAAAAACUxhc3RXcml0ZQB1nOIC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6968951252313"/>
  <p:tag name="EMPOWERCHARTSPROPERTIES_B_LENGTH" val="24576"/>
  <p:tag name="DOWN_MIGRATION_INITIAL_LAYOUT_REQUIRED" val="9.2.99"/>
  <p:tag name="RUNTIME_ID" val="1cae8ae8-0c1b-4497-9662-6000ab7cc06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AgD///////8DAAAABAD///////8DAAAABAD///////////////////////////////////////////////////////////////////////////////////////////////////////////////////////////////////////////////////////////////////////////////////////////////////////////////////////////////////////////////////////////////////////////////////////////////////////////////////////////////////////////////////////////////////////////////////////////////////////////////////////////////////////////////////////////////////////////////8BACAA////////////////AAAO////////AwAAAAMA////////////////////////////////////////////////////////////////////////////////////////////////////////////////////////////////////////////////////////////////////////////////////////////////////////////////////////////////////////////////////////////////////////////////////////////////////////////////////////////////////////////////////////////////////////////////////////////////////////////////////////////////////////////////////////////////////////////////////////////////////////////////////////AgABAP///////wUAAAACABAAC4TAJhzPRv5AvVRspN5biaoEAAAAAAADAAAAAAADAAAABAADAAIA////////BQAAAAMAEAAL0D2+nHCVx0aWSpsy/TLa6AQAAAABAAMAAAAEAAMAAAABAAMAAAAEAP///////wQAAwD///////8FAAAABAAQAAtNcsRsWUszRLQPslErUf9OBAAAAAIAAwAAAAIAAwAAAAMAAwAAAAA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MAmHM9G/kC9VGyk3luJqgREYXRhAAUAAAAAAk5hbWUADQAAAExpbmtEYXRhTGlzdAAQVmVyc2lvbgAAAAAACUxhc3RXcml0ZQCgTAPslgEAAAABAP////9hAGEAAAAFX2lkABAAAAAE0D2+nHCVx0aWSpsy/TLa6AREYXRhAAUAAAAAAk5hbWUADQAAAExpbmtEYXRhTGlzdAAQVmVyc2lvbgABAAAACUxhc3RXcml0ZQChTAPslgEAAAACAP////9wAHAAAAAFX2lkABAAAAAETXLEbFlLM0S0D7JRK1H/TgNEYXRhABYAAAACUGVyc29uYWxJZAABAAAAAAACTmFtZQALAAAAUGVyc29uYWxJZAAQVmVyc2lvbgAAAAAACUxhc3RXcml0ZQDGTAP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3131614669207"/>
  <p:tag name="EMPOWERCHARTSPROPERTIES_B_LENGTH" val="24576"/>
  <p:tag name="DOWN_MIGRATION_INITIAL_LAYOUT_REQUIRED" val="9.2.99"/>
  <p:tag name="RUNTIME_ID" val="f985ec10-914a-4cb9-8dd9-cbbd6a9fe6c7"/>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BAD///////8DAAAABAD///////8DAAAAAwD///////8DAAAAAwD///////8DAAAAAwD///////////////////////////////////////////////////////////////////////////////////////////////////////////////////////////////////////////////////////////////////////////////////////////////////////////////////////////////////////////////////////////////////////////////////////////////////////////////////////////////////////////////////////////////////////////////////////////////////////////////////////////////////////////////8BACAA////////////////AAAO////////AwAAAAMA////////////////////////////////////////////////////////////////////////////////////////////////////////////////////////////////////////////////////////////////////////////////////////////////////////////////////////////////////////////////////////////////////////////////////////////////////////////////////////////////////////////////////////////////////////////////////////////////////////////////////////////////////////////////////////////////////////////////////////////////////////////////////////AgACAP///////wUAAAACABAAC4qZ8XJgE71Iis1m9gSy3Q0EAAAAAAADAAAABAADAAAAAwADAAAABAADAAAAAwADAAUA////////BQAAAAMAEAALdPGw+jZPL0WunROZOLZkgwQAAAABAAMAAAACAAMAAAABAAMAAAACAP///////wMAAAAAAP///////wMAAAAAAP///////wMAAAAAAP///////wQAAgD///////8FAAAABAAQAAshpDJWgiq2QZ6vZC8vJvjS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pnxcmATvUiKzWb2BLLdDQREYXRhAAUAAAAAAk5hbWUADQAAAExpbmtEYXRhTGlzdAAQVmVyc2lvbgAAAAAACUxhc3RXcml0ZQAQTQPslgEAAAABAP////9hAGEAAAAFX2lkABAAAAAEdPGw+jZPL0WunROZOLZkgwREYXRhAAUAAAAAAk5hbWUADQAAAExpbmtEYXRhTGlzdAAQVmVyc2lvbgABAAAACUxhc3RXcml0ZQARTQPslgEAAAACAP////9wAHAAAAAFX2lkABAAAAAEIaQyVoIqtkGer2QvLyb40gNEYXRhABYAAAACUGVyc29uYWxJZAABAAAAAAACTmFtZQALAAAAUGVyc29uYWxJZAAQVmVyc2lvbgAAAAAACUxhc3RXcml0ZQA6TQPs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DAP///////wUAAAADAP///////wUAAAADAP///////////////////////////////////////////////////////////////////////////////////////////////////////////////////////////////////////////////////////////////////////////////////////////////////////////////////////////////////////////////////////////////////////////////////////////////////////////////////////////////////////////////////////////////////////////////////////////////////////////////////////////////////////////////wEAIAH///////////////8AAA7///////8FAAAABAD///////////////////////////////////////////////////////////////////////////////////////////////////////////////////////////////////////////////////////////////////////////////////////////////////////////////////////////////////////////////////////////////////////////////////////////////////////////////////////////////////////////////////////////////////////////////////////////////////////////////////////////////////////////////////////////////////////////////////////////////////////////////////////8CAAIBAwAAAAIA////////DgAGTGlua0RhdGFMaXN0XzAEAAAAAAAFAAAAAAAFAAAAAwAFAAAAAAAFAAAAAwADAAUBAwAAAAMA////////DgAGTGlua0RhdGFMaXN0XzEEAAAAAQAFAAAAAgAFAAAABAAFAAAAAgAFAAAABAAFAAAAAAD///////8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3131615672105"/>
  <p:tag name="EMPOWERCHARTSPROPERTIES_B_LENGTH" val="24576"/>
  <p:tag name="DOWN_MIGRATION_INITIAL_LAYOUT_REQUIRED" val="9.2.99"/>
  <p:tag name="RUNTIME_ID" val="ce01b0e1-6a1a-4fe2-90c7-d0753373333b"/>
</p:tagLst>
</file>

<file path=ppt/tags/tag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Vu8yS58I9BsbKEoB+uVhUEAAAAAAADAAAAAAADAAAABAADAAEA////////BQAAAAMAEAALwDNe9GQQIUG4rav8dfPTGAQAAAABAAMAAAAEAAMAAAABAAQAAgD///////8FAAAABAAQAAvEbzh2VSY+S5tRq8vCDQzD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W7zJLnwj0GxsoSgH65WFQREYXRhAAUAAAAAAk5hbWUADQAAAExpbmtEYXRhTGlzdAAQVmVyc2lvbgABAAAACUxhc3RXcml0ZQCmmvCqlwEAAAABAP////9hAGEAAAAFX2lkABAAAAAEwDNe9GQQIUG4rav8dfPTGAREYXRhAAUAAAAAAk5hbWUADQAAAExpbmtEYXRhTGlzdAAQVmVyc2lvbgAAAAAACUxhc3RXcml0ZQCmmvCqlwEAAAACAP////9wAHAAAAAFX2lkABAAAAAExG84dlUmPkubUavLwg0MwwNEYXRhABYAAAACUGVyc29uYWxJZAABAAAAAAACTmFtZQALAAAAUGVyc29uYWxJZAAQVmVyc2lvbgAAAAAACUxhc3RXcml0ZQDKmvCql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65163844885765"/>
  <p:tag name="EMPOWERCHARTSPROPERTIES_B_LENGTH" val="24576"/>
  <p:tag name="DOWN_MIGRATION_INITIAL_LAYOUT_REQUIRED" val="9.2.99"/>
  <p:tag name="RUNTIME_ID" val="8fee13e6-5593-48f8-a8e0-b2715d8ca141"/>
</p:tagLst>
</file>

<file path=ppt/tags/tag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3A2MFl9vCVAiME4GAyTQGkEAAAAAAADAAAAAAADAAAAAwADAAAAAAD///////8DAAAAAAD///////8DAAAAAAD///////8DAAEA////////BQAAAAMAEAALefFqWyTQtUGpdBTNewIYSQQAAAABAAMAAAACAAMAAAAEAAQAAQD///////8FAAAABAAQAAvW0KB5yRMoSpZOMkaI6Qi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YwWX28JUCIwTgYDJNAaQREYXRhAAUAAAAAAk5hbWUADQAAAExpbmtEYXRhTGlzdAAQVmVyc2lvbgAAAAAACUxhc3RXcml0ZQARzf7rlgEAAAABAP////9hAGEAAAAFX2lkABAAAAAEefFqWyTQtUGpdBTNewIYSQREYXRhAAUAAAAAAk5hbWUADQAAAExpbmtEYXRhTGlzdAAQVmVyc2lvbgABAAAACUxhc3RXcml0ZQAVzf7rlgEAAAACAP////9wAHAAAAAFX2lkABAAAAAE1tCgeckTKEqWTjJGiOkIsgNEYXRhABYAAAACUGVyc29uYWxJZAABAAAAAAACTmFtZQALAAAAUGVyc29uYWxJZAAQVmVyc2lvbgAAAAAACUxhc3RXcml0ZQB4zf7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3128667152095"/>
  <p:tag name="EMPOWERCHARTSPROPERTIES_B_LENGTH" val="24576"/>
  <p:tag name="DOWN_MIGRATION_INITIAL_LAYOUT_REQUIRED" val="9.2.99"/>
  <p:tag name="RUNTIME_ID" val="586baa29-aba8-4ef8-9177-06fa10ce52d8"/>
</p:tagLst>
</file>

<file path=ppt/tags/tag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3A2MFl9vCVAiME4GAyTQGkEAAAAAAADAAAAAAADAAAAAwADAAAAAAD///////8DAAAAAAD///////8DAAAAAAD///////8DAAEA////////BQAAAAMAEAALefFqWyTQtUGpdBTNewIYSQQAAAABAAMAAAACAAMAAAAEAAQAAQD///////8FAAAABAAQAAvW0KB5yRMoSpZOMkaI6Qi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YwWX28JUCIwTgYDJNAaQREYXRhAAUAAAAAAk5hbWUADQAAAExpbmtEYXRhTGlzdAAQVmVyc2lvbgAAAAAACUxhc3RXcml0ZQARzf7rlgEAAAABAP////9hAGEAAAAFX2lkABAAAAAEefFqWyTQtUGpdBTNewIYSQREYXRhAAUAAAAAAk5hbWUADQAAAExpbmtEYXRhTGlzdAAQVmVyc2lvbgABAAAACUxhc3RXcml0ZQAVzf7rlgEAAAACAP////9wAHAAAAAFX2lkABAAAAAE1tCgeckTKEqWTjJGiOkIsgNEYXRhABYAAAACUGVyc29uYWxJZAABAAAAAAACTmFtZQALAAAAUGVyc29uYWxJZAAQVmVyc2lvbgAAAAAACUxhc3RXcml0ZQB4zf7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33128667152095"/>
  <p:tag name="EMPOWERCHARTSPROPERTIES_B_LENGTH" val="24576"/>
  <p:tag name="DOWN_MIGRATION_INITIAL_LAYOUT_REQUIRED" val="9.2.99"/>
  <p:tag name="RUNTIME_ID" val="9745f786-06f8-45a4-992c-bc8b820ea96f"/>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BAD///////////////////////////////////////////////////////////////////////////////////////////////////////////////////////////////////////////////////////////////////////////////////////////////////////////////////////////////////////////////////////////////////////////////////////////////////////////////////////////////////////////////////////////////////////////////////////////////////////////////////////////////////////////////////////////////////////////////////////////////8BACAA////////////////AAAO////////AwAAAAMA////////////////////////////////////////////////////////////////////////////////////////////////////////////////////////////////////////////////////////////////////////////////////////////////////////////////////////////////////////////////////////////////////////////////////////////////////////////////////////////////////////////////////////////////////////////////////////////////////////////////////////////////////////////////////////////////////////////////////////////////////////////////////////AgABAP///////wUAAAACABAAC8kukFC1VPhLpGbH5pnAyFEEAAAAAAADAAAABAADAAAAAwADAAEA////////BQAAAAMAEAALP2h+bw2jGE2JZw5atv+s5AQAAAABAAMAAAACAAMAAAABAAQAAgD///////8FAAAABAAQAAu/1KFEx5plR4eHDq2XHXgX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S6QULVU+EukZsfmmcDIUQREYXRhAAUAAAAAAk5hbWUADQAAAExpbmtEYXRhTGlzdAAQVmVyc2lvbgAAAAAACUxhc3RXcml0ZQAW4PsrlgEAAAABAP////9hAGEAAAAFX2lkABAAAAAEP2h+bw2jGE2JZw5atv+s5AREYXRhAAUAAAAAAk5hbWUADQAAAExpbmtEYXRhTGlzdAAQVmVyc2lvbgABAAAACUxhc3RXcml0ZQAX4PsrlgEAAAACAP////9wAHAAAAAFX2lkABAAAAAEv9ShRMeaZUeHhw6tlx14FwNEYXRhABYAAAACUGVyc29uYWxJZAABAAAAAAACTmFtZQALAAAAUGVyc29uYWxJZAAQVmVyc2lvbgAAAAAACUxhc3RXcml0ZQBb4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95010711"/>
  <p:tag name="EMPOWERCHARTSPROPERTIES_B_LENGTH" val="24576"/>
  <p:tag name="DOWN_MIGRATION_INITIAL_LAYOUT_REQUIRED" val="9.2.99"/>
  <p:tag name="RUNTIME_ID" val="c8404b15-a0f9-49da-b77b-d39ec30d5ef4"/>
</p:tagLst>
</file>

<file path=ppt/tags/tag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2jrA7k0OL5HnH3z9ruNiQ8EAAAAAAADAAAABAADAAAAAwADAAIA////////BQAAAAMAEAALnE736gaAs0qXMnlLAtY31AQAAAABAAMAAAACAAMAAAABAAMAAAAAAP///////wQAAQD///////8FAAAABAAQAAvWnuVCIhwoSIXiGVXLs/JT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OsDuTQ4vkecffP2u42JDwREYXRhAAUAAAAAAk5hbWUADQAAAExpbmtEYXRhTGlzdAAQVmVyc2lvbgAAAAAACUxhc3RXcml0ZQBG1/srlgEAAAABAP////9hAGEAAAAFX2lkABAAAAAEnE736gaAs0qXMnlLAtY31AREYXRhAAUAAAAAAk5hbWUADQAAAExpbmtEYXRhTGlzdAAQVmVyc2lvbgABAAAACUxhc3RXcml0ZQBf1/srlgEAAAACAP////9wAHAAAAAFX2lkABAAAAAE1p7lQiIcKEiF4hlVy7PyUwNEYXRhABYAAAACUGVyc29uYWxJZAABAAAAAAACTmFtZQALAAAAUGVyc29uYWxJZAAQVmVyc2lvbgAAAAAACUxhc3RXcml0ZQCx1/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72702889"/>
  <p:tag name="EMPOWERCHARTSPROPERTIES_B_LENGTH" val="24576"/>
  <p:tag name="DOWN_MIGRATION_INITIAL_LAYOUT_REQUIRED" val="9.2.99"/>
  <p:tag name="RUNTIME_ID" val="2484390a-9e23-4f51-bde6-5d14879d4b73"/>
</p:tagLst>
</file>

<file path=ppt/tags/tag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cBAQEBAQEBAQEBAQEBAQMAAAAAAAAAAwAAAAMAAAAA/////wUA2gsAAAAAAAAAAAAAIAD///////////////8AAAD///////////////8DAAAAAgD///////8DAAAAAgD///////8DAAAAAwD///////8DAAAAAwD///////8DAAAAAwD///////////////////////////////////////////////////////////////////////////////////////////////////////////////////////////////////////////////////////////////////////////////////////////////////////////////////////////////////////////////////////////////////////////////////////////////////////////////////////////////////////////////////////////////////////////////////////////////////////////////////////////////////////////////8BACAA////////////////AAAO////////AwAAAAQA////////////////////////////////////////////////////////////////////////////////////////////////////////////////////////////////////////////////////////////////////////////////////////////////////////////////////////////////////////////////////////////////////////////////////////////////////////////////////////////////////////////////////////////////////////////////////////////////////////////////////////////////////////////////////////////////////////////////////////////////////////////////////////AgACAP///////wUAAAACABAACzWIHLGOHLJDnXCn3DQkJdYEAAAAAAADAAAAAAADAAAAAwADAAAAAAADAAAAAwADAAUA////////BQAAAAMAEAALn+Ye8OKbjk6iC9aNVzJKPAQAAAABAAMAAAACAAMAAAAEAAMAAAACAP///////wMAAAAAAP///////wMAAAAAAP///////wMAAAAAAP///////wQAAQD///////8FAAAABAAQAAuhtC3wNE2JTbQdu7tc1He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YgcsY4cskOdcKfcNCQl1gREYXRhAAUAAAAAAk5hbWUADQAAAExpbmtEYXRhTGlzdAAQVmVyc2lvbgABAAAACUxhc3RXcml0ZQDS4/srlgEAAAABAP////9hAGEAAAAFX2lkABAAAAAEn+Ye8OKbjk6iC9aNVzJKPAREYXRhAAUAAAAAAk5hbWUADQAAAExpbmtEYXRhTGlzdAAQVmVyc2lvbgAAAAAACUxhc3RXcml0ZQDH4/srlgEAAAACAP////9wAHAAAAAFX2lkABAAAAAEobQt8DRNiU20Hbu7XNR3hgNEYXRhABYAAAACUGVyc29uYWxJZAABAAAAAAACTmFtZQALAAAAUGVyc29uYWxJZAAQVmVyc2lvbgAAAAAACUxhc3RXcml0ZQAG5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aCwAAAAAAAAAAAAAgAf///////////////wAAAP///////////////wUAAAADAP///////wUAAAADAP///////wUAAAADAP///////wUAAAADAP///////wUAAAADAP///////wUAAAAEAP///////wUAAAAEAP///////////////////////////////////////////////////////////////////////////////////////////////////////////////////////////////////////////////////////////////////////////////////////////////////////////////////////////////////////////////////////////////////////////////////////////////////////////////////////////////////////////////////////////////////////////////////////////////////////////////wEAIAH///////////////8AAA7///////8FAAAABAD///////////////////////////////////////////////////////////////////////////////////////////////////////////////////////////////////////////////////////////////////////////////////////////////////////////////////////////////////////////////////////////////////////////////////////////////////////////////////////////////////////////////////////////////////////////////////////////////////////////////////////////////////////////////////////////////////////////////////////////////////////////////////////8CAAIBAwAAAAIA////////DgAGTGlua0RhdGFMaXN0XzEEAAAAAAAFAAAAAwAFAAAABAAFAAAAAwAFAAAABAADAAUBAwAAAAMA////////DgAGTGlua0RhdGFMaXN0XzAEAAAAAQAFAAAAAAAFAAAAAgAFAAAAAAAFAAAAAgAFAAAAAAAFAAAABAAFAAAAAAAFAAAABAAFAAAAAAAFAAAABAAEAAcBAwAAAAQA////////DAAGUGVyc29uYWxJZF8wBAAAAAIABQAAAAIABQAAAAEABQAAAAIA////////BQAAAAM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4236025"/>
  <p:tag name="EMPOWERCHARTSPROPERTIES_B_LENGTH" val="24576"/>
  <p:tag name="DOWN_MIGRATION_INITIAL_LAYOUT_REQUIRED" val="9.2.99"/>
  <p:tag name="RUNTIME_ID" val="a218d4e3-632a-451a-9200-9daa25624d5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wUA2gsAAAAAAAAAAAAAIAD///////////////8AAAD///////////////8DAAAAAgD///////8DAAAABAD///////8DAAAABAD///////8DAAAABAD///////8DAAAABAD///////8DAAAABAD///////////////////////////////////////////////////////////////////////////////////////////////////////////////////////////////////////////////////////////////////////////////////////////////////////////////////////////////////////////////////////////////////////////////////////////////////////////////////////////////////////////////////////////////////////////////////////////////////////////////////////////////8BACAA////////////////AAAO////////AwAAAAQA////////////////////////////////////////////////////////////////////////////////////////////////////////////////////////////////////////////////////////////////////////////////////////////////////////////////////////////////////////////////////////////////////////////////////////////////////////////////////////////////////////////////////////////////////////////////////////////////////////////////////////////////////////////////////////////////////////////////////////////////////////////////////////AgABAP///////wUAAAACABAAC0LYPCS6QwlOkSTjdVlr0IgEAAAAAAADAAAAAAADAAAAAwADAAEA////////BQAAAAMAEAALaibpgG7U6Eq8DmHkDh4YlAQAAAABAAMAAAACAAMAAAAEAAQABgD///////8FAAAABAAQAAtfnBr9dvrNT6kvtWGju6BlBAAAAAIAAwAAAAMAAwAAAAE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tg8JLpDCU6RJON1WWvQiAREYXRhAAUAAAAAAk5hbWUADQAAAExpbmtEYXRhTGlzdAAQVmVyc2lvbgAAAAAACUxhc3RXcml0ZQBe5PsrlgEAAAABAP////9hAGEAAAAFX2lkABAAAAAEaibpgG7U6Eq8DmHkDh4YlAREYXRhAAUAAAAAAk5hbWUADQAAAExpbmtEYXRhTGlzdAAQVmVyc2lvbgABAAAACUxhc3RXcml0ZQBh5PsrlgEAAAACAP////9wAHAAAAAFX2lkABAAAAAEX5wa/Xb6zU+pL7Vho7ugZQNEYXRhABYAAAACUGVyc29uYWxJZAABAAAAAAACTmFtZQALAAAAUGVyc29uYWxJZAAQVmVyc2lvbgAAAAAACUxhc3RXcml0ZQCT5P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505629004"/>
  <p:tag name="EMPOWERCHARTSPROPERTIES_B_LENGTH" val="24576"/>
  <p:tag name="DOWN_MIGRATION_INITIAL_LAYOUT_REQUIRED" val="9.2.99"/>
  <p:tag name="RUNTIME_ID" val="87c255eb-e71b-450f-beea-9b982f6a05ff"/>
</p:tagLst>
</file>

<file path=ppt/tags/tag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QBAQEBAQEBAQEBAQEBAQMAAAAAAAAAAwAAAAMAAAAA/////wUAwgsAAAAAAAAAAAAAIAD///////////////8AAAD///////////////8DAAAABAD///////8DAAAABAD///////8DAAAABAD///////8DAAAABAD///////8DAAAABAD///////////////////////////////////////////////////////////////////////////////////////////////////////////////////////////////////////////////////////////////////////////////////////////////////////////////////////////////////////////////////////////////////////////////////////////////////////////////////////////////////////////////////////////////////////////////////////////////////////////////////////////////////////////////8BACAA////////////////AAAO////////AwAAAAMA////////////////////////////////////////////////////////////////////////////////////////////////////////////////////////////////////////////////////////////////////////////////////////////////////////////////////////////////////////////////////////////////////////////////////////////////////////////////////////////////////////////////////////////////////////////////////////////////////////////////////////////////////////////////////////////////////////////////////////////////////////////////////////AgAEAP///////wUAAAACABAACyNbjCdczGREjTI4SZp771wEAAAAAAADAAAABAADAAAAAwADAAAABAD///////8DAAAABAD///////8DAAAABAD///////8DAAEA////////BQAAAAMAEAALeh/QoWwTqkmsLF4t7qsWewQAAAABAAMAAAACAAMAAAABAAQABQD///////8FAAAABAAQAAuCdIcQghcqTow/SCNB2oDLBAAAAAIAAwAAAAAAAwAAAAIAAwAAAAAAAw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1uMJ1zMZESNMjhJmnvvXAREYXRhAAUAAAAAAk5hbWUADQAAAExpbmtEYXRhTGlzdAAQVmVyc2lvbgAAAAAACUxhc3RXcml0ZQBS4fsrlgEAAAABAP////9hAGEAAAAFX2lkABAAAAAEeh/QoWwTqkmsLF4t7qsWewREYXRhAAUAAAAAAk5hbWUADQAAAExpbmtEYXRhTGlzdAAQVmVyc2lvbgABAAAACUxhc3RXcml0ZQBS4fsrlgEAAAACAP////9wAHAAAAAFX2lkABAAAAAEgnSHEIIXKk6MP0gjQdqAywNEYXRhABYAAAACUGVyc29uYWxJZAABAAAAAAACTmFtZQALAAAAUGVyc29uYWxJZAAQVmVyc2lvbgAAAAAACUxhc3RXcml0ZQCN4fsr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EAIAH///////////////8AAA7///////8FAAAABAD///////////////////////////////////////////////////////////////////////////////////////////////////////////////////////////////////////////////////////////////////////////////////////////////////////////////////////////////////////////////////////////////////////////////////////////////////////////////////////////////////////////////////////////////////////////////////////////////////////////////////////////////////////////////////////////////////////////////////////////////////////////////////////8CAAQBAwAAAAIA////////DgAGTGlua0RhdGFMaXN0XzAEAAAAAAAFAAAAAAAFAAAAAwAFAAAAAAAFAAAABAAFAAAAAAAFAAAABAAFAAAAAAD///////8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00914498036041"/>
  <p:tag name="EMPOWERCHARTSPROPERTIES_B_LENGTH" val="24576"/>
  <p:tag name="DOWN_MIGRATION_INITIAL_LAYOUT_REQUIRED" val="9.2.99"/>
  <p:tag name="RUNTIME_ID" val="d871a568-645a-474b-8d5d-ede1c679265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yUc3UQJUG1Dvysngp3aRrkEAAAAAAADAAAABAADAAAAAwADAAEA////////BQAAAAMAEAALfjuN6UeZS0aN3g0pXO8OPQQAAAABAAMAAAACAAMAAAABAAQAAQD///////8FAAAABAAQAAtqbNAaCqY+Tq9hOgG3sus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RzdRAlQbUO/KyeCndpGuQREYXRhAAUAAAAAAk5hbWUADQAAAExpbmtEYXRhTGlzdAAQVmVyc2lvbgAAAAAACUxhc3RXcml0ZQAxV+LRmAEAAAABAP////9hAGEAAAAFX2lkABAAAAAEfjuN6UeZS0aN3g0pXO8OPQREYXRhAAUAAAAAAk5hbWUADQAAAExpbmtEYXRhTGlzdAAQVmVyc2lvbgABAAAACUxhc3RXcml0ZQAxV+LRmAEAAAACAP////9wAHAAAAAFX2lkABAAAAAEamzQGgqmPk6vYToBt7LrIgNEYXRhABYAAAACUGVyc29uYWxJZAABAAAAAAACTmFtZQALAAAAUGVyc29uYWxJZAAQVmVyc2lvbgAAAAAACUxhc3RXcml0ZQA8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15183495-b4a7-4dc3-a48c-ce54f9832fe7"/>
  <p:tag name="DOWN_MIGRATION_INITIAL_LAYOUT_REQUIRED" val="9.2.99"/>
  <p:tag name="EMPOWERCHARTSPROPERTIES_LASTWRITEDATE" val="638914647283898998"/>
</p:tagLst>
</file>

<file path=ppt/tags/tag75.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8gsAAAAAAAAAAAAAIAD///////////////8AAAD///////////////8DAAAABAD///////8DAAAABAD///////////////////////////////////////////////////////////////////////////////////////////////////////////////////////////////////////////////////////////////////////////////////////////////////////////////////////////////////////////////////////////////////////////////////////////////////////////////////////////////////////////////////////////////////////////////////////////////////////////////////////////////////////////////////////////////////////////////////////////////8BACAA////////////////AAAO////////AwAAAAMA////////////////////////////////////////////////////////////////////////////////////////////////////////////////////////////////////////////////////////////////////////////////////////////////////////////////////////////////////////////////////////////////////////////////////////////////////////////////////////////////////////////////////////////////////////////////////////////////////////////////////////////////////////////////////////////////////////////////////////////////////////////////////////AgACAP///////wUAAAACABAAC521zb/Qv5tHpdPnieX6z3wEAAAAAAADAAAABAADAAAAAwADAAAABAADAAAAAwADAAIA////////BQAAAAMAEAALbf4U7lGQ/0uJQUN5sckoCgQAAAABAAMAAAACAAMAAAABAAMAAAACAP///////wQAAgD///////8FAAAABAAQAAv55hEMkrsAT5zINjcGbxDw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bXNv9C/m0el0+eJ5frPfAREYXRhAAUAAAAAAk5hbWUADQAAAExpbmtEYXRhTGlzdAAQVmVyc2lvbgAAAAAACUxhc3RXcml0ZQB/V+LRmAEAAAABAP////9hAGEAAAAFX2lkABAAAAAEbf4U7lGQ/0uJQUN5sckoCgREYXRhAAUAAAAAAk5hbWUADQAAAExpbmtEYXRhTGlzdAAQVmVyc2lvbgABAAAACUxhc3RXcml0ZQB/V+LRmAEAAAACAP////9wAHAAAAAFX2lkABAAAAAE+eYRDJK7AE+cyDY3Bm8Q8ANEYXRhABYAAAACUGVyc29uYWxJZAABAAAAAAACTmFtZQALAAAAUGVyc29uYWxJZAAQVmVyc2lvbgAAAAAACUxhc3RXcml0ZQCL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EAIAH///////////////8AAA7///////8FAAAABAD///////////////////////////////////////////////////////////////////////////////////////////////////////////////////////////////////////////////////////////////////////////////////////////////////////////////////////////////////////////////////////////////////////////////////////////////////////////////////////////////////////////////////////////////////////////////////////////////////////////////////////////////////////////////////////////////////////////////////////////////////////////////////////8CAAIBAwAAAAIA////////DgAGTGlua0RhdGFMaXN0XzAEAAAAAAAFAAAAAAAFAAAAAwAFAAAAAAAFAAAAAwADAAIBAwAAAAMA////////DgAGTGlua0RhdGFMaXN0XzEEAAAAAQAFAAAAAgAFAAAABAAFAAAAAg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8148e754-1250-4ff9-9613-ea1c0db09f4b"/>
  <p:tag name="DOWN_MIGRATION_INITIAL_LAYOUT_REQUIRED" val="9.2.99"/>
  <p:tag name="EMPOWERCHARTSPROPERTIES_LASTWRITEDATE" val="638914647284710820"/>
</p:tagLst>
</file>

<file path=ppt/tags/tag76.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33G2GdT/gRDnmlS6qcR96kEAAAAAAADAAAAAAADAAAAAwADAAAAAAD///////8DAAEA////////BQAAAAMAEAALJ5UoitkSUEOVPqKeFayMawQAAAABAAMAAAACAAMAAAAEAAQAAQD///////8FAAAABAAQAAs3odqRDspsQqJqe35LwPO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cbYZ1P+BEOeaVLqpxH3qQREYXRhAAUAAAAAAk5hbWUADQAAAExpbmtEYXRhTGlzdAAQVmVyc2lvbgABAAAACUxhc3RXcml0ZQDkV+LRmAEAAAABAP////9hAGEAAAAFX2lkABAAAAAEJ5UoitkSUEOVPqKeFayMawREYXRhAAUAAAAAAk5hbWUADQAAAExpbmtEYXRhTGlzdAAQVmVyc2lvbgAAAAAACUxhc3RXcml0ZQDjV+LRmAEAAAACAP////9wAHAAAAAFX2lkABAAAAAEN6HakQ7KbEKiant+S8DzvQNEYXRhABYAAAACUGVyc29uYWxJZAABAAAAAAACTmFtZQALAAAAUGVyc29uYWxJZAAQVmVyc2lvbgAAAAAACUxhc3RXcml0ZQDu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412866bb-66be-46f7-9e83-5fd83e7e969e"/>
  <p:tag name="DOWN_MIGRATION_INITIAL_LAYOUT_REQUIRED" val="9.2.99"/>
  <p:tag name="EMPOWERCHARTSPROPERTIES_LASTWRITEDATE" val="638914647285669401"/>
</p:tagLst>
</file>

<file path=ppt/tags/tag77.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BAD///////8DAAAABAD///////////////////////////////////////////////////////////////////////////////////////////////////////////////////////////////////////////////////////////////////////////////////////////////////////////////////////////////////////////////////////////////////////////////////////////////////////////////////////////////////////////////////////////////////////////////////////////////////////////////////////////////////////////////////////////////////////////////////////////////8BACAA////////////////AAAO////////AwAAAAMA////////////////////////////////////////////////////////////////////////////////////////////////////////////////////////////////////////////////////////////////////////////////////////////////////////////////////////////////////////////////////////////////////////////////////////////////////////////////////////////////////////////////////////////////////////////////////////////////////////////////////////////////////////////////////////////////////////////////////////////////////////////////////////AgACAP///////wUAAAACABAACzcht83eyrRPi2BV3WoF84UEAAAAAAADAAAABAADAAAAAwADAAAABAADAAAAAwADAAIA////////BQAAAAMAEAALtEuR8dzwWEmZi9vrzZf9fwQAAAABAAMAAAACAAMAAAABAAMAAAACAP///////wQAAgD///////8FAAAABAAQAAvJ4XKLVfU6TK2uhnVyo1Uh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yG3zd7KtE+LYFXdagXzhQREYXRhAAUAAAAAAk5hbWUADQAAAExpbmtEYXRhTGlzdAAQVmVyc2lvbgAAAAAACUxhc3RXcml0ZQD+V+LRmAEAAAABAP////9hAGEAAAAFX2lkABAAAAAEtEuR8dzwWEmZi9vrzZf9fwREYXRhAAUAAAAAAk5hbWUADQAAAExpbmtEYXRhTGlzdAAQVmVyc2lvbgABAAAACUxhc3RXcml0ZQD+V+LRmAEAAAACAP////9wAHAAAAAFX2lkABAAAAAEyeFyi1X1OkytroZ1cqNVIQNEYXRhABYAAAACUGVyc29uYWxJZAABAAAAAAACTmFtZQALAAAAUGVyc29uYWxJZAAQVmVyc2lvbgAAAAAACUxhc3RXcml0ZQAJ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EAIAH///////////////8AAA7///////8FAAAABAD///////////////////////////////////////////////////////////////////////////////////////////////////////////////////////////////////////////////////////////////////////////////////////////////////////////////////////////////////////////////////////////////////////////////////////////////////////////////////////////////////////////////////////////////////////////////////////////////////////////////////////////////////////////////////////////////////////////////////////////////////////////////////////8CAAIBAwAAAAIA////////DgAGTGlua0RhdGFMaXN0XzAEAAAAAAAFAAAAAAAFAAAAAwAFAAAAAAAFAAAAAwA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75d133d3-46a9-4f8b-9564-9b4718f695e8"/>
  <p:tag name="DOWN_MIGRATION_INITIAL_LAYOUT_REQUIRED" val="9.2.99"/>
  <p:tag name="EMPOWERCHARTSPROPERTIES_LASTWRITEDATE" val="638914647285959454"/>
</p:tagLst>
</file>

<file path=ppt/tags/tag78.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7ZyJRkQ9/xBpx6yQF/9eSUEAAAAAAADAAAAAAADAAAAAwADAAIA////////BQAAAAMAEAALHHr7RiokqkuiZI/fFVIkfwQAAAABAAMAAAACAAMAAAAEAAMAAAAAAAMAAAAEAAQAAgD///////8FAAAABAAQAAsYdde562gLT4DH6ZUlacwW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nIlGRD3/EGnHrJAX/15JQREYXRhAAUAAAAAAk5hbWUADQAAAExpbmtEYXRhTGlzdAAQVmVyc2lvbgABAAAACUxhc3RXcml0ZQA8WOLRmAEAAAABAP////9hAGEAAAAFX2lkABAAAAAEHHr7RiokqkuiZI/fFVIkfwREYXRhAAUAAAAAAk5hbWUADQAAAExpbmtEYXRhTGlzdAAQVmVyc2lvbgAAAAAACUxhc3RXcml0ZQA3WOLRmAEAAAACAP////9wAHAAAAAFX2lkABAAAAAEGHXXuetoC0+Ax+mVJWnMFgNEYXRhABYAAAACUGVyc29uYWxJZAABAAAAAAACTmFtZQALAAAAUGVyc29uYWxJZAAQVmVyc2lvbgAAAAAACUxhc3RXcml0ZQBI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abe5eed9-edd1-4ffd-9f55-eb72cb6231be"/>
  <p:tag name="DOWN_MIGRATION_INITIAL_LAYOUT_REQUIRED" val="9.2.99"/>
  <p:tag name="EMPOWERCHARTSPROPERTIES_LASTWRITEDATE" val="638914647286589451"/>
</p:tagLst>
</file>

<file path=ppt/tags/tag79.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BAD///////8DAAAABAD///////8DAAAAAwD///////8DAAAAAwD///////////////////////////////////////////////////////////////////////////////////////////////////////////////////////////////////////////////////////////////////////////////////////////////////////////////////////////////////////////////////////////////////////////////////////////////////////////////////////////////////////////////////////////////////////////////////////////////////////////////////////////////////////////////////////////////8BACAA////////////////AAAO////////AwAAAAMA////////////////////////////////////////////////////////////////////////////////////////////////////////////////////////////////////////////////////////////////////////////////////////////////////////////////////////////////////////////////////////////////////////////////////////////////////////////////////////////////////////////////////////////////////////////////////////////////////////////////////////////////////////////////////////////////////////////////////////////////////////////////////////AgACAP///////wUAAAACABAAC8uwULyLqwhMk/UB1eFrsTAEAAAAAAADAAAABAADAAAAAwADAAAABAADAAAAAwADAAQA////////BQAAAAMAEAALICtexOVPNkinNDAfqhtbEAQAAAABAAMAAAACAAMAAAABAAMAAAACAP///////wMAAAAAAP///////wMAAAAAAP///////wQAAgD///////8FAAAABAAQAAs4g8UUIh6yRK7/BHysBw+9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7BQvIurCEyT9QHV4WuxMAREYXRhAAUAAAAAAk5hbWUADQAAAExpbmtEYXRhTGlzdAAQVmVyc2lvbgABAAAACUxhc3RXcml0ZQBdWOLRmAEAAAABAP////9hAGEAAAAFX2lkABAAAAAEICtexOVPNkinNDAfqhtbEAREYXRhAAUAAAAAAk5hbWUADQAAAExpbmtEYXRhTGlzdAAQVmVyc2lvbgAAAAAACUxhc3RXcml0ZQBdWOLRmAEAAAACAP////9wAHAAAAAFX2lkABAAAAAEOIPFFCIeskSu/wR8rAcPvQNEYXRhABYAAAACUGVyc29uYWxJZAABAAAAAAACTmFtZQALAAAAUGVyc29uYWxJZAAQVmVyc2lvbgAAAAAACUxhc3RXcml0ZQBn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1b1545a7-2d6f-4ec7-bfb6-3f7506e5626c"/>
  <p:tag name="DOWN_MIGRATION_INITIAL_LAYOUT_REQUIRED" val="9.2.99"/>
  <p:tag name="EMPOWERCHARTSPROPERTIES_LASTWRITEDATE" val="63891464728688026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zgsAAAAAAAAAAAAAIAD///////////////8AAAD///////////////8DAAAAAgD///////8DAAAAAgD///////8DAAAAAwD///////8DAAAAAwD///////8DAAAAAwD///////8DAAAAAwD///////////////////////////////////////////////////////////////////////////////////////////////////////////////////////////////////////////////////////////////////////////////////////////////////////////////////////////////////////////////////////////////////////////////////////////////////////////////////////////////////////////////////////////////////////////////////////////////////////////////////////////////8BACAA////////////////AAAO////////AwAAAAQA////////////////////////////////////////////////////////////////////////////////////////////////////////////////////////////////////////////////////////////////////////////////////////////////////////////////////////////////////////////////////////////////////////////////////////////////////////////////////////////////////////////////////////////////////////////////////////////////////////////////////////////////////////////////////////////////////////////////////////////////////////////////////////AgACAP///////wUAAAACABAAC1tFpgc0mc1PsWOjp/6GdagEAAAAAAADAAAAAAADAAAAAwADAAAAAAADAAAAAwADAAYA////////BQAAAAMAEAALxcJEQgCqrky12ImgQKfwYwQAAAABAAMAAAACAAMAAAAEAAMAAAACAP///////wMAAAAAAP///////wMAAAAAAP///////wMAAAAAAP///////wMAAAAAAP///////wQAAQD///////8FAAAABAAQAAu51yTfvuo9TIUU0t4KlKj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0WmBzSZzU+xY6On/oZ1qAREYXRhAAUAAAAAAk5hbWUADQAAAExpbmtEYXRhTGlzdAAQVmVyc2lvbgAAAAAACUxhc3RXcml0ZQBYWeLRmAEAAAABAP////9hAGEAAAAFX2lkABAAAAAExcJEQgCqrky12ImgQKfwYwREYXRhAAUAAAAAAk5hbWUADQAAAExpbmtEYXRhTGlzdAAQVmVyc2lvbgABAAAACUxhc3RXcml0ZQBYWeLRmAEAAAACAP////9wAHAAAAAFX2lkABAAAAAEudck377qPUyFFNLeCpSoyANEYXRhABYAAAACUGVyc29uYWxJZAABAAAAAAACTmFtZQALAAAAUGVyc29uYWxJZAAQVmVyc2lvbgAAAAAACUxhc3RXcml0ZQBkWe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DAP///////wUAAAADAP///////wUAAAADAP///////wUAAAADAP///////////////////////////////////////////////////////////////////////////////////////////////////////////////////////////////////////////////////////////////////////////////////////////////////////////////////////////////////////////////////////////////////////////////////////////////////////////////////////////////////////////////////////////////////////////////////////////////////////////////////////////////wEAIAH///////////////8AAA7///////8FAAAABAD///////////////////////////////////////////////////////////////////////////////////////////////////////////////////////////////////////////////////////////////////////////////////////////////////////////////////////////////////////////////////////////////////////////////////////////////////////////////////////////////////////////////////////////////////////////////////////////////////////////////////////////////////////////////////////////////////////////////////////////////////////////////////////8CAAIBAwAAAAIA////////DgAGTGlua0RhdGFMaXN0XzAEAAAAAAAFAAAAAAAFAAAAAwAFAAAAAAAFAAAAAwADAAYBAwAAAAMA////////DgAGTGlua0RhdGFMaXN0XzEEAAAAAQAFAAAAAgAFAAAABAAFAAAAAgAFAAAABAAFAAAAAAAFAAAABAAFAAAAAAD///////8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bb89fe75-65b3-4983-88c6-a32e6626ad2a"/>
  <p:tag name="DOWN_MIGRATION_INITIAL_LAYOUT_REQUIRED" val="9.2.99"/>
  <p:tag name="EMPOWERCHARTSPROPERTIES_LASTWRITEDATE" val="638914647289411574"/>
</p:tagLst>
</file>

<file path=ppt/tags/tag8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QA////////////////////////////////////////////////////////////////////////////////////////////////////////////////////////////////////////////////////////////////////////////////////////////////////////////////////////////////////////////////////////////////////////////////////////////////////////////////////////////////////////////////////////////////////////////////////////////////////////////////////////////////////////////////////////////////////////////////////////////////////////////////////////AgACAP///////wUAAAACABAACyyZ3TA0d+RDubH+gsbOacQEAAAAAAADAAAAAAADAAAAAwADAAAAAAADAAAAAwADAAMA////////BQAAAAMAEAALNRU2rhyHUk+Zd5j2FpkRzwQAAAABAAMAAAACAAMAAAAEAAMAAAACAP///////wMAAAAAAP///////wQAAQD///////8FAAAABAAQAAtfXcTvaNWFRa35+gUUBze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JndMDR35EO5sf6Cxs5pxAREYXRhAAUAAAAAAk5hbWUADQAAAExpbmtEYXRhTGlzdAAQVmVyc2lvbgAAAAAACUxhc3RXcml0ZQDUWOLRmAEAAAABAP////9hAGEAAAAFX2lkABAAAAAENRU2rhyHUk+Zd5j2FpkRzwREYXRhAAUAAAAAAk5hbWUADQAAAExpbmtEYXRhTGlzdAAQVmVyc2lvbgABAAAACUxhc3RXcml0ZQDUWOLRmAEAAAACAP////9wAHAAAAAFX2lkABAAAAAEX13E72jVhUWt+foFFAc3oANEYXRhABYAAAACUGVyc29uYWxJZAABAAAAAAACTmFtZQALAAAAUGVyc29uYWxJZAAQVmVyc2lvbgAAAAAACUxhc3RXcml0ZQDf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DAP///////////////////////////////////////////////////////////////////////////////////////////////////////////////////////////////////////////////////////////////////////////////////////////////////////////////////////////////////////////////////////////////////////////////////////////////////////////////////////////////////////////////////////////////////////////////////////////////////////////////////////////////////////////////////////////////////////////////wEAIAH///////////////8AAA7///////8FAAAABAD///////////////////////////////////////////////////////////////////////////////////////////////////////////////////////////////////////////////////////////////////////////////////////////////////////////////////////////////////////////////////////////////////////////////////////////////////////////////////////////////////////////////////////////////////////////////////////////////////////////////////////////////////////////////////////////////////////////////////////////////////////////////////////8CAAIBAwAAAAIA////////DgAGTGlua0RhdGFMaXN0XzAEAAAAAAAFAAAAAAAFAAAAAwAFAAAAAAAFAAAAAwADAAMBAwAAAAMA////////DgAGTGlua0RhdGFMaXN0XzEEAAAAAQAFAAAAAgAFAAAABAAFAAAAAg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40a8eb92-32fb-4293-bbea-1357c59c1b43"/>
  <p:tag name="DOWN_MIGRATION_INITIAL_LAYOUT_REQUIRED" val="9.2.99"/>
  <p:tag name="EMPOWERCHARTSPROPERTIES_LASTWRITEDATE" val="638914647288070894"/>
</p:tagLst>
</file>

<file path=ppt/tags/tag82.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MA////////////////////////////////////////////////////////////////////////////////////////////////////////////////////////////////////////////////////////////////////////////////////////////////////////////////////////////////////////////////////////////////////////////////////////////////////////////////////////////////////////////////////////////////////////////////////////////////////////////////////////////////////////////////////////////////////////////////////////////////////////////////////////AgACAP///////wUAAAACABAACywYEwMlzM9OmzK1yXuZKXwEAAAAAAADAAAAAAADAAAABAADAAAAAAADAAAAAwADAAMA////////BQAAAAMAEAALMJKO9tGCJECBEjt50h5RfgQAAAABAAMAAAAEAAMAAAABAAMAAAACAP///////wMAAAAAAP///////wQAAQD///////8FAAAABAAQAAuCbdTc3L6NRKedpJFi24gC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BgTAyXMz06bMrXJe5kpfAREYXRhAAUAAAAAAk5hbWUADQAAAExpbmtEYXRhTGlzdAAQVmVyc2lvbgABAAAACUxhc3RXcml0ZQCQVuLRmAEAAAABAP////9hAGEAAAAFX2lkABAAAAAEMJKO9tGCJECBEjt50h5RfgREYXRhAAUAAAAAAk5hbWUADQAAAExpbmtEYXRhTGlzdAAQVmVyc2lvbgAAAAAACUxhc3RXcml0ZQCPVuLRmAEAAAACAP////9wAHAAAAAFX2lkABAAAAAEgm3U3Ny+jUSnnaSRYtuIAgNEYXRhABYAAAACUGVyc29uYWxJZAABAAAAAAACTmFtZQALAAAAUGVyc29uYWxJZAAQVmVyc2lvbgAAAAAACUxhc3RXcml0ZQCb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eed58355-88fa-41b8-99ae-b958a2b06f5f"/>
  <p:tag name="DOWN_MIGRATION_INITIAL_LAYOUT_REQUIRED" val="9.2.99"/>
  <p:tag name="EMPOWERCHARTSPROPERTIES_LASTWRITEDATE" val="638914647282298827"/>
</p:tagLst>
</file>

<file path=ppt/tags/tag83.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gD///////8DAAAAAwD///////8DAAAAAwD///////8DAAAAAwD///////////////////////////////////////////////////////////////////////////////////////////////////////////////////////////////////////////////////////////////////////////////////////////////////////////////////////////////////////////////////////////////////////////////////////////////////////////////////////////////////////////////////////////////////////////////////////////////////////////////////////////////////////////////8BACAA////////////////AAAO////////AwAAAAMA////////////////////////////////////////////////////////////////////////////////////////////////////////////////////////////////////////////////////////////////////////////////////////////////////////////////////////////////////////////////////////////////////////////////////////////////////////////////////////////////////////////////////////////////////////////////////////////////////////////////////////////////////////////////////////////////////////////////////////////////////////////////////////AgACAP///////wUAAAACABAAC7+F9TK587lBgD0gITn3qa0EAAAAAAADAAAAAAADAAAABAADAAAAAAADAAAAAwADAAUA////////BQAAAAMAEAALbunHZJB8/0+795SpoVQ8LwQAAAABAAMAAAAEAAMAAAABAAMAAAACAP///////wMAAAAAAP///////wMAAAAAAP///////wMAAAAAAP///////wQAAQD///////8FAAAABAAQAAuQkplFnkChSoHDo78Vwahy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4X1MrnzuUGAPSAhOfeprQREYXRhAAUAAAAAAk5hbWUADQAAAExpbmtEYXRhTGlzdAAQVmVyc2lvbgABAAAACUxhc3RXcml0ZQAVV+LRmAEAAAABAP////9hAGEAAAAFX2lkABAAAAAEbunHZJB8/0+795SpoVQ8LwREYXRhAAUAAAAAAk5hbWUADQAAAExpbmtEYXRhTGlzdAAQVmVyc2lvbgAAAAAACUxhc3RXcml0ZQATV+LRmAEAAAACAP////9wAHAAAAAFX2lkABAAAAAEkJKZRZ5AoUqBw6O/FcGocgNEYXRhABYAAAACUGVyc29uYWxJZAABAAAAAAACTmFtZQALAAAAUGVyc29uYWxJZAAQVmVyc2lvbgAAAAAACUxhc3RXcml0ZQAg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EAIAH///////////////8AAA7///////8FAAAABAD///////////////////////////////////////////////////////////////////////////////////////////////////////////////////////////////////////////////////////////////////////////////////////////////////////////////////////////////////////////////////////////////////////////////////////////////////////////////////////////////////////////////////////////////////////////////////////////////////////////////////////////////////////////////////////////////////////////////////////////////////////////////////////8CAAIBAwAAAAIA////////DgAGTGlua0RhdGFMaXN0XzEEAAAAAAAFAAAAAwAFAAAABAAFAAAAAwD///////8DAAUBAwAAAAMA////////DgAGTGlua0RhdGFMaXN0XzAEAAAAAQAFAAAAAAAFAAAAAg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6a0f1bfb-816b-431e-9c08-f259aace4163"/>
  <p:tag name="DOWN_MIGRATION_INITIAL_LAYOUT_REQUIRED" val="9.2.99"/>
  <p:tag name="EMPOWERCHARTSPROPERTIES_LASTWRITEDATE" val="638914647283613869"/>
</p:tagLst>
</file>

<file path=ppt/tags/tag84.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tgsAAAAAAAAAAAAAIAD///////////////8AAAD///////////////8DAAAAAgD///////8DAAAABAD///////8DAAAAAwD///////8DAAAAAwD///////8DAAAAAwD///////8DAAAAAwD///////8DAAAAAwD///////8DAAAAAwD///////////////////////////////////////////////////////////////////////////////////////////////////////////////////////////////////////////////////////////////////////////////////////////////////////////////////////////////////////////////////////////////////////////////////////////////////////////////////////////////////////////////////////////////////////////////////////////////8BACAA////////////////AAAO////////AwAAAAMA////////////////////////////////////////////////////////////////////////////////////////////////////////////////////////////////////////////////////////////////////////////////////////////////////////////////////////////////////////////////////////////////////////////////////////////////////////////////////////////////////////////////////////////////////////////////////////////////////////////////////////////////////////////////////////////////////////////////////////////////////////////////////////AgABAP///////wUAAAACABAACz/SaRKh0RNAhuzkUpqgt7MEAAAAAAADAAAAAAADAAAABAADAAgA////////BQAAAAMAEAALCC269YmWqk66IpnyNIwhXgQAAAABAAMAAAAEAAMAAAABAAMAAAAEAP///////wMAAAAAAP///////wMAAAAAAP///////wMAAAAAAP///////wMAAAAAAP///////wMAAAAAAP///////wMAAAAAAP///////wQAAgD///////8FAAAABAAQAAv3b/JEf/rrSohnx58u0h6N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9JpEqHRE0CG7ORSmqC3swREYXRhAAUAAAAAAk5hbWUADQAAAExpbmtEYXRhTGlzdAAQVmVyc2lvbgAAAAAACUxhc3RXcml0ZQCgV+LRmAEAAAABAP////9hAGEAAAAFX2lkABAAAAAECC269YmWqk66IpnyNIwhXgREYXRhAAUAAAAAAk5hbWUADQAAAExpbmtEYXRhTGlzdAAQVmVyc2lvbgABAAAACUxhc3RXcml0ZQChV+LRmAEAAAACAP////9wAHAAAAAFX2lkABAAAAAE92/yRH/660qIZ8efLtIejQNEYXRhABYAAAACUGVyc29uYWxJZAABAAAAAAACTmFtZQALAAAAUGVyc29uYWxJZAAQVmVyc2lvbgAAAAAACUxhc3RXcml0ZQCrV+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OCwAAAAAAAAAAAAAgAf///////////////wAAAP///////////////wUAAAACAP///////wUAAAADAP///////wUAAAADAP///////wUAAAADAP///////wUAAAADAP///////wUAAAADAP///////wUAAAADAP///////wUAAAADAP///////////////////////////////////////////////////////////////////////////////////////////////////////////////////////////////////////////////////////////////////////////////////////////////////////////////////////////////////////////////////////////////////////////////////////////////////////////////////////////////////////////////////////////////////////////////////////////////wEAIAH///////////////8AAA7///////8FAAAABAD///////////////////////////////////////////////////////////////////////////////////////////////////////////////////////////////////////////////////////////////////////////////////////////////////////////////////////////////////////////////////////////////////////////////////////////////////////////////////////////////////////////////////////////////////////////////////////////////////////////////////////////////////////////////////////////////////////////////////////////////////////////////////////8CAAEBAwAAAAIA////////DgAGTGlua0RhdGFMaXN0XzAEAAAAAAAFAAAAAAAFAAAAAwADAAgBAwAAAAMA////////DgAGTGlua0RhdGFMaXN0XzEEAAAAAQAFAAAAAgAFAAAABAAFAAAAAAAFAAAABAAFAAAAAAAFAAAABAAFAAAAAAAFAAAABAAFAAAAAAAFAAAABAAFAAAAAAAFAAAABAAFAAAAAAD///////8FAAAAAAD///////8EAAYBAwAAAAQA////////DAAGUGVyc29uYWxJZF8wBAAAAAIABQAAAAMABQAAAAEABQAAAAMA////////BQAAAAMA////////BQAAAAM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2384ae67-6d5b-4c5c-9593-322a919b893a"/>
  <p:tag name="DOWN_MIGRATION_INITIAL_LAYOUT_REQUIRED" val="9.2.99"/>
  <p:tag name="EMPOWERCHARTSPROPERTIES_LASTWRITEDATE" val="638914647285010836"/>
</p:tagLst>
</file>

<file path=ppt/tags/tag85.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5FWEJYjtWBBof4mlLEipRIEAAAAAAADAAAAAAADAAAAAwADAAEA////////BQAAAAMAEAAL6QY+3Qeahka9lH5gSBdTuQQAAAABAAMAAAACAAMAAAAEAAQAAQD///////8FAAAABAAQAAsCszHx/K/xRbAf8sCbDXhE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VYQliO1YEGh/iaUsSKlEgREYXRhAAUAAAAAAk5hbWUADQAAAExpbmtEYXRhTGlzdAAQVmVyc2lvbgAAAAAACUxhc3RXcml0ZQDzWOLRmAEAAAABAP////9hAGEAAAAFX2lkABAAAAAE6QY+3Qeahka9lH5gSBdTuQREYXRhAAUAAAAAAk5hbWUADQAAAExpbmtEYXRhTGlzdAAQVmVyc2lvbgABAAAACUxhc3RXcml0ZQDzWOLRmAEAAAACAP////9wAHAAAAAFX2lkABAAAAAEArMx8fyv8UWwH/LAmw14RANEYXRhABYAAAACUGVyc29uYWxJZAABAAAAAAACTmFtZQALAAAAUGVyc29uYWxJZAAQVmVyc2lvbgAAAAAACUxhc3RXcml0ZQD+WO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4666572c-87ae-43c7-8646-44e583f425d0"/>
  <p:tag name="DOWN_MIGRATION_INITIAL_LAYOUT_REQUIRED" val="9.2.99"/>
  <p:tag name="EMPOWERCHARTSPROPERTIES_LASTWRITEDATE" val="638914647288396450"/>
</p:tagLst>
</file>

<file path=ppt/tags/tag86.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BAD///////8DAAAABAD///////8DAAAAAgD///////////////////////////////////////////////////////////////////////////////////////////////////////////////////////////////////////////////////////////////////////////////////////////////////////////////////////////////////////////////////////////////////////////////////////////////////////////////////////////////////////////////////////////////////////////////////////////////////////////////////////////////////////////////////////////////////////////////8BACAA////////////////AAAO////////AwAAAAMA////////////////////////////////////////////////////////////////////////////////////////////////////////////////////////////////////////////////////////////////////////////////////////////////////////////////////////////////////////////////////////////////////////////////////////////////////////////////////////////////////////////////////////////////////////////////////////////////////////////////////////////////////////////////////////////////////////////////////////////////////////////////////////AgADAP///////wUAAAACABAACxIBsZ5ihI5LjIg4rJTOu/4EAAAAAAADAAAABAADAAAAAwADAAAABAADAAAAAwADAAAAAAADAAAAAwADAAMA////////BQAAAAMAEAAL6gzh1qmbs0+BbGGtCzWa7QQAAAABAAMAAAACAAMAAAABAAMAAAACAP///////wMAAAACAP///////wQAAgD///////8FAAAABAAQAAvds01UB+FcRI/N2DJtHITD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gGxnmKEjkuMiDislM67/gREYXRhAAUAAAAAAk5hbWUADQAAAExpbmtEYXRhTGlzdAAQVmVyc2lvbgAAAAAACUxhc3RXcml0ZQATWeLRmAEAAAABAP////9hAGEAAAAFX2lkABAAAAAE6gzh1qmbs0+BbGGtCzWa7QREYXRhAAUAAAAAAk5hbWUADQAAAExpbmtEYXRhTGlzdAAQVmVyc2lvbgABAAAACUxhc3RXcml0ZQATWeLRmAEAAAACAP////9wAHAAAAAFX2lkABAAAAAE3bNNVAfhXESPzdgybRyEwwNEYXRhABYAAAACUGVyc29uYWxJZAABAAAAAAACTmFtZQALAAAAUGVyc29uYWxJZAAQVmVyc2lvbgAAAAAACUxhc3RXcml0ZQAdWe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AwAFAAAAAAAFAAAAAwADAAMBAwAAAAMA////////DgAGTGlua0RhdGFMaXN0XzEEAAAAAQAFAAAAAgAFAAAABAAFAAAAAgD///////8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f70b918a-928e-45f9-8fa6-cbf00e82fc5c"/>
  <p:tag name="DOWN_MIGRATION_INITIAL_LAYOUT_REQUIRED" val="9.2.99"/>
  <p:tag name="EMPOWERCHARTSPROPERTIES_LASTWRITEDATE" val="638914647288721586"/>
</p:tagLst>
</file>

<file path=ppt/tags/tag87.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wheh2zQqChMlKldeydvA/MEAAAAAAADAAAAAAADAAAAAwADAAIA////////BQAAAAMAEAALHH1DsAx1akOG/EO2Yd9KkAQAAAABAAMAAAACAAMAAAAEAAMAAAAAAAMAAAAEAAQAAgD///////8FAAAABAAQAAvjrVv+H/XFR6FgWQNCqmNB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F6HbNCoKEyUqV17J28D8wREYXRhAAUAAAAAAk5hbWUADQAAAExpbmtEYXRhTGlzdAAQVmVyc2lvbgAAAAAACUxhc3RXcml0ZQA0WeLRmAEAAAABAP////9hAGEAAAAFX2lkABAAAAAEHH1DsAx1akOG/EO2Yd9KkAREYXRhAAUAAAAAAk5hbWUADQAAAExpbmtEYXRhTGlzdAAQVmVyc2lvbgABAAAACUxhc3RXcml0ZQA0WeLRmAEAAAACAP////9wAHAAAAAFX2lkABAAAAAE461b/h/1xUehYFkDQqpjQQNEYXRhABYAAAACUGVyc29uYWxJZAABAAAAAAACTmFtZQALAAAAUGVyc29uYWxJZAAQVmVyc2lvbgAAAAAACUxhc3RXcml0ZQBCWe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ff872c37-0eac-4ec2-8801-46ff85253325"/>
  <p:tag name="DOWN_MIGRATION_INITIAL_LAYOUT_REQUIRED" val="9.2.99"/>
  <p:tag name="EMPOWERCHARTSPROPERTIES_LASTWRITEDATE" val="638914647289081545"/>
</p:tagLst>
</file>

<file path=ppt/tags/tag88.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89.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9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0iOgB1OdU9Dnb6nsQ+ax4sEAAAAAAADAAAAAAADAAAABAADAAMA////////BQAAAAMAEAALTYVqhahqv0SPJQlAj9ScnwQAAAABAAMAAAAEAAMAAAABAAMAAAAEAP///////wMAAAAAAP///////wQAAgD///////8FAAAABAAQAAvSpzxWmkHzTaRxVNcOV4IU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I6AHU51T0OdvqexD5rHiwREYXRhAAUAAAAAAk5hbWUADQAAAExpbmtEYXRhTGlzdAAQVmVyc2lvbgAAAAAACUxhc3RXcml0ZQBCVuLRmAEAAAABAP////9hAGEAAAAFX2lkABAAAAAETYVqhahqv0SPJQlAj9ScnwREYXRhAAUAAAAAAk5hbWUADQAAAExpbmtEYXRhTGlzdAAQVmVyc2lvbgABAAAACUxhc3RXcml0ZQBCVuLRmAEAAAACAP////9wAHAAAAAFX2lkABAAAAAE0qc8VppB802kcVTXDleCFANEYXRhABYAAAACUGVyc29uYWxJZAABAAAAAAACTmFtZQALAAAAUGVyc29uYWxJZAAQVmVyc2lvbgAAAAAACUxhc3RXcml0ZQBSVuL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e0f9986-182a-4715-8247-d9f97a3c6f01"/>
  <p:tag name="DOWN_MIGRATION_INITIAL_LAYOUT_REQUIRED" val="9.2.99"/>
  <p:tag name="EMPOWERCHARTSPROPERTIES_LASTWRITEDATE" val="638914647281556994"/>
</p:tagLst>
</file>

<file path=ppt/tags/tag92.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AgD///////8DAAAAAgD///////8DAAAAAgD///////8DAAAAAwD///////8DAAAAAwD///////////////////////////////////////////////////////////////////////////////////////////////////////////////////////////////////////////////////////////////////////////////////////////////////////////////////////////////////////////////////////////////////////////////////////////////////////////////////////////////////////////////////////////////////////////////////////////////////////////////////////////////////////////////8BACAA////////////////AAAO////////AwAAAAQA////////////////////////////////////////////////////////////////////////////////////////////////////////////////////////////////////////////////////////////////////////////////////////////////////////////////////////////////////////////////////////////////////////////////////////////////////////////////////////////////////////////////////////////////////////////////////////////////////////////////////////////////////////////////////////////////////////////////////////////////////////////////////////AgADAP///////wUAAAACABAAC3/FGzcCuQhKmunNFFXXKbcEAAAAAAADAAAAAAADAAAAAwADAAAAAAADAAAAAwADAAAAAAADAAAAAwADAAUA////////BQAAAAMAEAALXxq/O/Jbf022kdizEXpTFwQAAAABAAMAAAACAAMAAAAEAAMAAAACAP///////wMAAAACAP///////wMAAAAAAP///////wMAAAAAAP///////wQAAQD///////8FAAAABAAQAAvdzFDvzW+aQqlW1BCNE/D4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8UbNwK5CEqa6c0UVdcptwREYXRhAAUAAAAAAk5hbWUADQAAAExpbmtEYXRhTGlzdAAQVmVyc2lvbgAAAAAACUxhc3RXcml0ZQBBNtDRmAEAAAABAP////9hAGEAAAAFX2lkABAAAAAEXxq/O/Jbf022kdizEXpTFwREYXRhAAUAAAAAAk5hbWUADQAAAExpbmtEYXRhTGlzdAAQVmVyc2lvbgABAAAACUxhc3RXcml0ZQBBNtDRmAEAAAACAP////9wAHAAAAAFX2lkABAAAAAE3cxQ781vmkKpVtQQjRPw+ANEYXRhABYAAAACUGVyc29uYWxJZAABAAAAAAACTmFtZQALAAAAUGVyc29uYWxJZAAQVmVyc2lvbgAAAAAACUxhc3RXcml0ZQBMNtDR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CAP///////wUAAAACAP///////wUAAAADAP///////wUAAAADAP///////////////////////////////////////////////////////////////////////////////////////////////////////////////////////////////////////////////////////////////////////////////////////////////////////////////////////////////////////////////////////////////////////////////////////////////////////////////////////////////////////////////////////////////////////////////////////////////////////////////////////////////////////////////wEAIAH///////////////8AAA7///////8FAAAABAD///////////////////////////////////////////////////////////////////////////////////////////////////////////////////////////////////////////////////////////////////////////////////////////////////////////////////////////////////////////////////////////////////////////////////////////////////////////////////////////////////////////////////////////////////////////////////////////////////////////////////////////////////////////////////////////////////////////////////////////////////////////////////////8CAAMBAwAAAAIA////////DgAGTGlua0RhdGFMaXN0XzAEAAAAAAAFAAAAAAAFAAAAAwAFAAAAAAAFAAAAAwAFAAAAAAAFAAAAAwADAAUBAwAAAAMA////////DgAGTGlua0RhdGFMaXN0XzEEAAAAAQAFAAAAAgAFAAAABAAFAAAAAgAFAAAABAAFAAAAAgD///////8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64b174ca-ad78-45c7-ba59-2487ea568582"/>
  <p:tag name="DOWN_MIGRATION_INITIAL_LAYOUT_REQUIRED" val="9.2.99"/>
  <p:tag name="EMPOWERCHARTSPROPERTIES_LASTWRITEDATE" val="63891463540309444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g_Master">
  <a:themeElements>
    <a:clrScheme name="msg_Colors">
      <a:dk1>
        <a:sysClr val="windowText" lastClr="000000"/>
      </a:dk1>
      <a:lt1>
        <a:sysClr val="window" lastClr="FFFFFF"/>
      </a:lt1>
      <a:dk2>
        <a:srgbClr val="4A4A4A"/>
      </a:dk2>
      <a:lt2>
        <a:srgbClr val="ACACAC"/>
      </a:lt2>
      <a:accent1>
        <a:srgbClr val="A01441"/>
      </a:accent1>
      <a:accent2>
        <a:srgbClr val="139EAD"/>
      </a:accent2>
      <a:accent3>
        <a:srgbClr val="F5B510"/>
      </a:accent3>
      <a:accent4>
        <a:srgbClr val="70DC51"/>
      </a:accent4>
      <a:accent5>
        <a:srgbClr val="5866E3"/>
      </a:accent5>
      <a:accent6>
        <a:srgbClr val="D74B94"/>
      </a:accent6>
      <a:hlink>
        <a:srgbClr val="A01441"/>
      </a:hlink>
      <a:folHlink>
        <a:srgbClr val="A01441"/>
      </a:folHlink>
    </a:clrScheme>
    <a:fontScheme name="Benutzerdefiniert 19">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ctr"/>
      <a:lstStyle>
        <a:defPPr algn="ctr">
          <a:defRPr sz="16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msg_PPT_Master.pptx" id="{C83475F5-D6A3-4D41-85F5-B99C775542F2}" vid="{C43F23F9-0055-4EA5-BFC5-2F34A2EEC2B7}"/>
    </a:ext>
  </a:extLst>
</a:theme>
</file>

<file path=ppt/theme/theme2.xml><?xml version="1.0" encoding="utf-8"?>
<a:theme xmlns:a="http://schemas.openxmlformats.org/drawingml/2006/main" name="Office">
  <a:themeElements>
    <a:clrScheme name="msg_Color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a:themeElements>
    <a:clrScheme name="msg_Color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AufbewahrungBis xmlns="f719ecbf-a19d-4b01-ba1f-7ffa0d8a5235" xsi:nil="true"/>
    <h3f1b06ce09f48098d4991f35ddb7359 xmlns="f719ecbf-a19d-4b01-ba1f-7ffa0d8a5235">
      <Terms xmlns="http://schemas.microsoft.com/office/infopath/2007/PartnerControls"/>
    </h3f1b06ce09f48098d4991f35ddb7359>
    <TaxCatchAll xmlns="f719ecbf-a19d-4b01-ba1f-7ffa0d8a5235">
      <Value>5564</Value>
    </TaxCatchAll>
    <f16d888152304445aa5b35ba4716d4a8 xmlns="f719ecbf-a19d-4b01-ba1f-7ffa0d8a5235">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f1fe2a98-d56b-449d-82ee-cefd9e5def11</TermId>
        </TermInfo>
      </Terms>
    </f16d888152304445aa5b35ba4716d4a8>
    <_dlc_DocId xmlns="92d247c3-14bf-44d0-aeb9-54c722447403">Grafik-369647302-505430</_dlc_DocId>
    <_dlc_DocIdUrl xmlns="92d247c3-14bf-44d0-aeb9-54c722447403">
      <Url>https://msggroup.sharepoint.com/sites/TEA-Grafik/_layouts/15/DocIdRedir.aspx?ID=Grafik-369647302-505430</Url>
      <Description>Grafik-369647302-505430</Description>
    </_dlc_DocIdUrl>
  </documentManagement>
</p:properties>
</file>

<file path=customXml/item2.xml><?xml version="1.0" encoding="utf-8"?>
<?mso-contentType ?>
<SharedContentType xmlns="Microsoft.SharePoint.Taxonomy.ContentTypeSync" SourceId="a53a62bb-fe8c-40a9-b721-69dc556ec299" ContentTypeId="0x010100CB739A34987DFC4799956597BE84C54F" PreviousValue="false"/>
</file>

<file path=customXml/item3.xml><?xml version="1.0" encoding="utf-8"?>
<ct:contentTypeSchema xmlns:ct="http://schemas.microsoft.com/office/2006/metadata/contentType" xmlns:ma="http://schemas.microsoft.com/office/2006/metadata/properties/metaAttributes" ct:_="" ma:_="" ma:contentTypeName="msg_compliance_dokument" ma:contentTypeID="0x010100CB739A34987DFC4799956597BE84C54F0008C64B1B8015174EB36A156614839271" ma:contentTypeVersion="121" ma:contentTypeDescription="Ein neues Dokument erstellen" ma:contentTypeScope="" ma:versionID="d148418ce15fa400cc1bd6f9ff878a4e">
  <xsd:schema xmlns:xsd="http://www.w3.org/2001/XMLSchema" xmlns:xs="http://www.w3.org/2001/XMLSchema" xmlns:p="http://schemas.microsoft.com/office/2006/metadata/properties" xmlns:ns2="f719ecbf-a19d-4b01-ba1f-7ffa0d8a5235" xmlns:ns4="92d247c3-14bf-44d0-aeb9-54c722447403" targetNamespace="http://schemas.microsoft.com/office/2006/metadata/properties" ma:root="true" ma:fieldsID="735a0ad24d8a7c7f1f5993343cb3cce0" ns2:_="" ns4:_="">
    <xsd:import namespace="f719ecbf-a19d-4b01-ba1f-7ffa0d8a5235"/>
    <xsd:import namespace="92d247c3-14bf-44d0-aeb9-54c722447403"/>
    <xsd:element name="properties">
      <xsd:complexType>
        <xsd:sequence>
          <xsd:element name="documentManagement">
            <xsd:complexType>
              <xsd:all>
                <xsd:element ref="ns2:f16d888152304445aa5b35ba4716d4a8" minOccurs="0"/>
                <xsd:element ref="ns2:TaxCatchAll" minOccurs="0"/>
                <xsd:element ref="ns2:TaxCatchAllLabel" minOccurs="0"/>
                <xsd:element ref="ns2:h3f1b06ce09f48098d4991f35ddb7359" minOccurs="0"/>
                <xsd:element ref="ns2:AufbewahrungBis"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19ecbf-a19d-4b01-ba1f-7ffa0d8a5235" elementFormDefault="qualified">
    <xsd:import namespace="http://schemas.microsoft.com/office/2006/documentManagement/types"/>
    <xsd:import namespace="http://schemas.microsoft.com/office/infopath/2007/PartnerControls"/>
    <xsd:element name="f16d888152304445aa5b35ba4716d4a8" ma:index="8" nillable="true" ma:taxonomy="true" ma:internalName="f16d888152304445aa5b35ba4716d4a8" ma:taxonomyFieldName="msg_status" ma:displayName="msg_Status" ma:default="5564;#draft|f1fe2a98-d56b-449d-82ee-cefd9e5def11" ma:fieldId="{f16d8881-5230-4445-aa5b-35ba4716d4a8}" ma:sspId="a53a62bb-fe8c-40a9-b721-69dc556ec299" ma:termSetId="2728d801-4acd-4eb4-aa2c-25cd9914c1e8"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5e418032-ddac-4e64-b4ae-8b5d87400bcb}" ma:internalName="TaxCatchAll" ma:showField="CatchAllData" ma:web="92d247c3-14bf-44d0-aeb9-54c722447403">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e418032-ddac-4e64-b4ae-8b5d87400bcb}" ma:internalName="TaxCatchAllLabel" ma:readOnly="true" ma:showField="CatchAllDataLabel" ma:web="92d247c3-14bf-44d0-aeb9-54c722447403">
      <xsd:complexType>
        <xsd:complexContent>
          <xsd:extension base="dms:MultiChoiceLookup">
            <xsd:sequence>
              <xsd:element name="Value" type="dms:Lookup" maxOccurs="unbounded" minOccurs="0" nillable="true"/>
            </xsd:sequence>
          </xsd:extension>
        </xsd:complexContent>
      </xsd:complexType>
    </xsd:element>
    <xsd:element name="h3f1b06ce09f48098d4991f35ddb7359" ma:index="12" nillable="true" ma:taxonomy="true" ma:internalName="h3f1b06ce09f48098d4991f35ddb7359" ma:taxonomyFieldName="msg_firma" ma:displayName="msg_Firma" ma:fieldId="{13f1b06c-e09f-4809-8d49-91f35ddb7359}" ma:sspId="a53a62bb-fe8c-40a9-b721-69dc556ec299" ma:termSetId="e83dff77-f37a-4aff-95fb-d7ebb9766cd8" ma:anchorId="00000000-0000-0000-0000-000000000000" ma:open="false" ma:isKeyword="false">
      <xsd:complexType>
        <xsd:sequence>
          <xsd:element ref="pc:Terms" minOccurs="0" maxOccurs="1"/>
        </xsd:sequence>
      </xsd:complexType>
    </xsd:element>
    <xsd:element name="AufbewahrungBis" ma:index="14" nillable="true" ma:displayName="Aufbewahrung bis" ma:format="DateOnly" ma:hidden="true" ma:internalName="AufbewahrungBis">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2d247c3-14bf-44d0-aeb9-54c722447403" elementFormDefault="qualified">
    <xsd:import namespace="http://schemas.microsoft.com/office/2006/documentManagement/types"/>
    <xsd:import namespace="http://schemas.microsoft.com/office/infopath/2007/PartnerControls"/>
    <xsd:element name="_dlc_DocId" ma:index="16" nillable="true" ma:displayName="Wert der Dokument-ID" ma:description="Der Wert der diesem Element zugewiesenen Dokument-ID." ma:indexed="true" ma:internalName="_dlc_DocId" ma:readOnly="true">
      <xsd:simpleType>
        <xsd:restriction base="dms:Text"/>
      </xsd:simpleType>
    </xsd:element>
    <xsd:element name="_dlc_DocIdUrl" ma:index="17"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8"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5" ma:displayName="Autor"/>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996B82D-8779-4ADB-BB8B-4E29798EF3C6}">
  <ds:schemaRefs>
    <ds:schemaRef ds:uri="92d247c3-14bf-44d0-aeb9-54c722447403"/>
    <ds:schemaRef ds:uri="http://purl.org/dc/dcmitype/"/>
    <ds:schemaRef ds:uri="http://schemas.microsoft.com/office/2006/documentManagement/types"/>
    <ds:schemaRef ds:uri="http://schemas.microsoft.com/office/2006/metadata/properties"/>
    <ds:schemaRef ds:uri="f719ecbf-a19d-4b01-ba1f-7ffa0d8a5235"/>
    <ds:schemaRef ds:uri="http://www.w3.org/XML/1998/namespace"/>
    <ds:schemaRef ds:uri="http://purl.org/dc/elements/1.1/"/>
    <ds:schemaRef ds:uri="http://schemas.microsoft.com/office/infopath/2007/PartnerControl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E6B0D8A1-8DFB-43C5-8198-3A202582CA2A}">
  <ds:schemaRefs>
    <ds:schemaRef ds:uri="Microsoft.SharePoint.Taxonomy.ContentTypeSync"/>
  </ds:schemaRefs>
</ds:datastoreItem>
</file>

<file path=customXml/itemProps3.xml><?xml version="1.0" encoding="utf-8"?>
<ds:datastoreItem xmlns:ds="http://schemas.openxmlformats.org/officeDocument/2006/customXml" ds:itemID="{F6327804-D47F-482C-9072-9E8D592C43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19ecbf-a19d-4b01-ba1f-7ffa0d8a5235"/>
    <ds:schemaRef ds:uri="92d247c3-14bf-44d0-aeb9-54c7224474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AEB6B875-C18E-467F-93C4-47BE434A6A0F}">
  <ds:schemaRefs>
    <ds:schemaRef ds:uri="http://schemas.microsoft.com/sharepoint/events"/>
  </ds:schemaRefs>
</ds:datastoreItem>
</file>

<file path=customXml/itemProps5.xml><?xml version="1.0" encoding="utf-8"?>
<ds:datastoreItem xmlns:ds="http://schemas.openxmlformats.org/officeDocument/2006/customXml" ds:itemID="{1783F8A6-26D0-42F7-95B5-2EC67E23F506}">
  <ds:schemaRefs>
    <ds:schemaRef ds:uri="http://schemas.microsoft.com/sharepoint/v3/contenttype/forms"/>
  </ds:schemaRefs>
</ds:datastoreItem>
</file>

<file path=docMetadata/LabelInfo.xml><?xml version="1.0" encoding="utf-8"?>
<clbl:labelList xmlns:clbl="http://schemas.microsoft.com/office/2020/mipLabelMetadata">
  <clbl:label id="{0e821cde-48ad-4065-9a7a-ac3e26dfc9d5}" enabled="1" method="Privileged" siteId="{763b2760-45c5-46d3-883e-29705bba49b7}" removed="0"/>
</clbl:labelList>
</file>

<file path=docProps/app.xml><?xml version="1.0" encoding="utf-8"?>
<Properties xmlns="http://schemas.openxmlformats.org/officeDocument/2006/extended-properties" xmlns:vt="http://schemas.openxmlformats.org/officeDocument/2006/docPropsVTypes">
  <Template>Master_msg_systems</Template>
  <TotalTime>0</TotalTime>
  <Words>6407</Words>
  <Application>Microsoft Macintosh PowerPoint</Application>
  <PresentationFormat>Breitbild</PresentationFormat>
  <Paragraphs>970</Paragraphs>
  <Slides>51</Slides>
  <Notes>37</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51</vt:i4>
      </vt:variant>
    </vt:vector>
  </HeadingPairs>
  <TitlesOfParts>
    <vt:vector size="65" baseType="lpstr">
      <vt:lpstr>Aptos</vt:lpstr>
      <vt:lpstr>Aptos Bold</vt:lpstr>
      <vt:lpstr>Aptos Light</vt:lpstr>
      <vt:lpstr>Arial</vt:lpstr>
      <vt:lpstr>Calibri</vt:lpstr>
      <vt:lpstr>Calibri Light</vt:lpstr>
      <vt:lpstr>Carnac</vt:lpstr>
      <vt:lpstr>Carnac ExtraBold</vt:lpstr>
      <vt:lpstr>Carnac Light</vt:lpstr>
      <vt:lpstr>Segoe UI</vt:lpstr>
      <vt:lpstr>Times New Roman</vt:lpstr>
      <vt:lpstr>Wingdings</vt:lpstr>
      <vt:lpstr>msg_Master</vt:lpstr>
      <vt:lpstr>think-cell Folie</vt:lpstr>
      <vt:lpstr>The company presentation provides a comprehensive overview of our organization and the value we offer to our customers, job applicants, and interested parties</vt:lpstr>
      <vt:lpstr>Accelerating Transformation</vt:lpstr>
      <vt:lpstr>Let’s talk digital!</vt:lpstr>
      <vt:lpstr>PowerPoint-Präsentation</vt:lpstr>
      <vt:lpstr>PowerPoint-Präsentation</vt:lpstr>
      <vt:lpstr>Putting people first: as customers, as users of our solutions and as employees.  </vt:lpstr>
      <vt:lpstr>Why msg is the right partner</vt:lpstr>
      <vt:lpstr>Why msg is the right partner</vt:lpstr>
      <vt:lpstr>Why msg is the right partner</vt:lpstr>
      <vt:lpstr>From a start-up with three founders to a billion-dollar company boasting a global workforce of over 10,000 IT and industry experts</vt:lpstr>
      <vt:lpstr>The comprehensive strategy employed by the msg group has been instrumental to its success for more than four decades</vt:lpstr>
      <vt:lpstr>We are an internationally operating group of companies  with in-depth industry expertise</vt:lpstr>
      <vt:lpstr>From start-up to the largest independent owner-managed consulting and IT company in Europe with innovative business models</vt:lpstr>
      <vt:lpstr>Our customers benefit from our global presence </vt:lpstr>
      <vt:lpstr>Local presence for our German customers is what really characterizes us</vt:lpstr>
      <vt:lpstr>msg consistently receives awards in external market comparisons and partner competitions</vt:lpstr>
      <vt:lpstr>Our understanding of our customers’ business characterizes us at all levels – including the Group's Management Board</vt:lpstr>
      <vt:lpstr>PowerPoint-Präsentation</vt:lpstr>
      <vt:lpstr>We support our customers from strategy design to technical implementation and the outsourcing of processes</vt:lpstr>
      <vt:lpstr>Core competence Digitalization Digital products and services for your business </vt:lpstr>
      <vt:lpstr>Core competence Cloud Scaling and speed secure your future</vt:lpstr>
      <vt:lpstr>Core competence SAP As an SAP partner, we have been shaping the digital transformation for over 25 years</vt:lpstr>
      <vt:lpstr>PowerPoint-Präsentation</vt:lpstr>
      <vt:lpstr>Setup of a central SAP BW/4HANA and SAP Analytics Cloud solution to efficiently pursue strategic corporate goals at REFRATECHNIK</vt:lpstr>
      <vt:lpstr>New migration approach for assuming balance sheet control:  Constant financial oversight through SAP FI migration at VIRIDIUM</vt:lpstr>
      <vt:lpstr>Intelligent heating with Techem: The Cloud way to sustainability</vt:lpstr>
      <vt:lpstr>Innovations on Cologne's roads:  Smart Fleet – a pilot project with Abfallwirtschaftsbetriebe Köln</vt:lpstr>
      <vt:lpstr>PowerPoint-Präsentation</vt:lpstr>
      <vt:lpstr>Sustainable customer relationships are a measure of our success</vt:lpstr>
      <vt:lpstr>Excellent consulting, comprehensive solutions and services for the digital transformation of your business </vt:lpstr>
      <vt:lpstr>“Stronger together” with our partners</vt:lpstr>
      <vt:lpstr>Fostering an environment of knowledge sharing and nurturing our partnerships reflects our commitment to a sustainable business strategy  </vt:lpstr>
      <vt:lpstr>Say goodbye to Excel! Enjoy automated and tax-compliant transfer pricing! Optravis Transfer Pricing Management Tool</vt:lpstr>
      <vt:lpstr>Say goodbye to Excel! Enjoy automated and tax-compliant cost allocation! Optravis Service Charge Tool</vt:lpstr>
      <vt:lpstr>The most advanced way to test applications msg.ZenTestAI  </vt:lpstr>
      <vt:lpstr>We provide an innovative solution for every kind of portfolio challenge  </vt:lpstr>
      <vt:lpstr>Competent Insurance Services Sourcing solutions for insurance-specific processing</vt:lpstr>
      <vt:lpstr>Digital consulting and completion processes – secure and compliant Conversational AI: Neohelden platform</vt:lpstr>
      <vt:lpstr>This is what the healthcare heroes of Germany are capable of Neohelden: Health-as-a-Service</vt:lpstr>
      <vt:lpstr>Digital funding consulting and completion processes Neohelden: SaaS Funding Finder</vt:lpstr>
      <vt:lpstr>Innovative sales facilitator Neohelden: Sales Buddy</vt:lpstr>
      <vt:lpstr>The central hub for communication in customer interactions D7 as the most advanced document creation </vt:lpstr>
      <vt:lpstr>AI-assisted skill management &amp; competence development msg.ProfileMap</vt:lpstr>
      <vt:lpstr>Connects systems, unifies vocabulary, creates understanding msg.SemanticBridge</vt:lpstr>
      <vt:lpstr>AI-Powered Testing Revolution msg.TestCaseGen.ai</vt:lpstr>
      <vt:lpstr>PowerPoint-Präsentation</vt:lpstr>
      <vt:lpstr>Focus on sustainability and ESG: We offer our customers E2E support</vt:lpstr>
      <vt:lpstr>Focus on sustainability and ESG: We live our responsibility </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company presentation provides a comprehensive overview of our organization and the value we offer to our customers, job applicants, and interested parties</dc:title>
  <dc:creator>Juliane von Geisau ext</dc:creator>
  <cp:lastModifiedBy>Sandra Capuani</cp:lastModifiedBy>
  <cp:revision>6</cp:revision>
  <dcterms:created xsi:type="dcterms:W3CDTF">2024-08-12T17:11:40Z</dcterms:created>
  <dcterms:modified xsi:type="dcterms:W3CDTF">2026-06-23T09:1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g_status0">
    <vt:lpwstr>1;#draft|f1fe2a98-d56b-449d-82ee-cefd9e5def11</vt:lpwstr>
  </property>
  <property fmtid="{D5CDD505-2E9C-101B-9397-08002B2CF9AE}" pid="3" name="MediaServiceImageTags">
    <vt:lpwstr/>
  </property>
  <property fmtid="{D5CDD505-2E9C-101B-9397-08002B2CF9AE}" pid="4" name="lcf76f155ced4ddcb4097134ff3c332f">
    <vt:lpwstr/>
  </property>
  <property fmtid="{D5CDD505-2E9C-101B-9397-08002B2CF9AE}" pid="5" name="msg_firma0">
    <vt:lpwstr/>
  </property>
  <property fmtid="{D5CDD505-2E9C-101B-9397-08002B2CF9AE}" pid="6" name="msg_firma">
    <vt:lpwstr/>
  </property>
  <property fmtid="{D5CDD505-2E9C-101B-9397-08002B2CF9AE}" pid="7" name="msg_status">
    <vt:lpwstr>5564;#draft|f1fe2a98-d56b-449d-82ee-cefd9e5def11</vt:lpwstr>
  </property>
  <property fmtid="{D5CDD505-2E9C-101B-9397-08002B2CF9AE}" pid="8" name="ContentTypeId">
    <vt:lpwstr>0x010100CB739A34987DFC4799956597BE84C54F0008C64B1B8015174EB36A156614839271</vt:lpwstr>
  </property>
  <property fmtid="{D5CDD505-2E9C-101B-9397-08002B2CF9AE}" pid="9" name="_dlc_DocIdItemGuid">
    <vt:lpwstr>692a982d-c11b-4b39-aa35-f690a516ca05</vt:lpwstr>
  </property>
</Properties>
</file>